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>
  <p:sldMasterIdLst>
    <p:sldMasterId id="2147483648" r:id="rId1"/>
    <p:sldMasterId id="2147484556" r:id="rId2"/>
    <p:sldMasterId id="2147484612" r:id="rId3"/>
    <p:sldMasterId id="2147484626" r:id="rId4"/>
  </p:sldMasterIdLst>
  <p:notesMasterIdLst>
    <p:notesMasterId r:id="rId19"/>
  </p:notesMasterIdLst>
  <p:handoutMasterIdLst>
    <p:handoutMasterId r:id="rId20"/>
  </p:handoutMasterIdLst>
  <p:sldIdLst>
    <p:sldId id="353" r:id="rId5"/>
    <p:sldId id="569" r:id="rId6"/>
    <p:sldId id="585" r:id="rId7"/>
    <p:sldId id="581" r:id="rId8"/>
    <p:sldId id="266" r:id="rId9"/>
    <p:sldId id="574" r:id="rId10"/>
    <p:sldId id="575" r:id="rId11"/>
    <p:sldId id="584" r:id="rId12"/>
    <p:sldId id="576" r:id="rId13"/>
    <p:sldId id="572" r:id="rId14"/>
    <p:sldId id="578" r:id="rId15"/>
    <p:sldId id="582" r:id="rId16"/>
    <p:sldId id="573" r:id="rId17"/>
    <p:sldId id="387" r:id="rId18"/>
  </p:sldIdLst>
  <p:sldSz cx="11949113" cy="6721475"/>
  <p:notesSz cx="6743700" cy="9906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libri Light" panose="020F0302020204030204" pitchFamily="34" charset="0"/>
      <p:regular r:id="rId25"/>
      <p:italic r:id="rId26"/>
    </p:embeddedFont>
    <p:embeddedFont>
      <p:font typeface="Formata Pro Medium" panose="02000603060000020004" pitchFamily="50" charset="-18"/>
      <p:regular r:id="rId27"/>
      <p:italic r:id="rId28"/>
    </p:embeddedFont>
    <p:embeddedFont>
      <p:font typeface="Formata Pro Regular" panose="02000503060000020004" pitchFamily="50" charset="-18"/>
      <p:regular r:id="rId29"/>
    </p:embeddedFont>
    <p:embeddedFont>
      <p:font typeface="Manrope" panose="020B0604020202020204" charset="0"/>
      <p:regular r:id="rId30"/>
      <p:bold r:id="rId31"/>
    </p:embeddedFont>
    <p:embeddedFont>
      <p:font typeface="SABMiller Headline" panose="02000400000000000000" charset="-18"/>
      <p:regular r:id="rId32"/>
    </p:embeddedFont>
  </p:embeddedFontLst>
  <p:custDataLst>
    <p:tags r:id="rId33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a Toušková" initials="JT" lastIdx="2" clrIdx="0">
    <p:extLst>
      <p:ext uri="{19B8F6BF-5375-455C-9EA6-DF929625EA0E}">
        <p15:presenceInfo xmlns:p15="http://schemas.microsoft.com/office/powerpoint/2012/main" userId="S::jana.touskova@asahibeer.cz::ed968d79-e692-45f1-b9e3-6314a1e1ede7" providerId="AD"/>
      </p:ext>
    </p:extLst>
  </p:cmAuthor>
  <p:cmAuthor id="2" name="Lucie Režná" initials="LR" lastIdx="1" clrIdx="1">
    <p:extLst>
      <p:ext uri="{19B8F6BF-5375-455C-9EA6-DF929625EA0E}">
        <p15:presenceInfo xmlns:p15="http://schemas.microsoft.com/office/powerpoint/2012/main" userId="S::lucie.rezna@asahibeer.cz::6ab01eaf-a545-483a-8830-72db3d417d34" providerId="AD"/>
      </p:ext>
    </p:extLst>
  </p:cmAuthor>
  <p:cmAuthor id="3" name="Libor Jordán" initials="LJ" lastIdx="1" clrIdx="2">
    <p:extLst>
      <p:ext uri="{19B8F6BF-5375-455C-9EA6-DF929625EA0E}">
        <p15:presenceInfo xmlns:p15="http://schemas.microsoft.com/office/powerpoint/2012/main" userId="S::Libor.Jordan@asahibeer.cz::b17c75ba-7d0d-40e2-b402-cdb809f8f2c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3E13"/>
    <a:srgbClr val="7881BE"/>
    <a:srgbClr val="0C9ED8"/>
    <a:srgbClr val="D88A00"/>
    <a:srgbClr val="A91B22"/>
    <a:srgbClr val="189EFB"/>
    <a:srgbClr val="D4212B"/>
    <a:srgbClr val="E27E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118" autoAdjust="0"/>
  </p:normalViewPr>
  <p:slideViewPr>
    <p:cSldViewPr snapToGrid="0">
      <p:cViewPr varScale="1">
        <p:scale>
          <a:sx n="79" d="100"/>
          <a:sy n="79" d="100"/>
        </p:scale>
        <p:origin x="682" y="67"/>
      </p:cViewPr>
      <p:guideLst>
        <p:guide orient="horz" pos="2117"/>
        <p:guide pos="376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3D4175E6-0B20-48C6-A4A3-42C4D8EDD86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98475" y="620713"/>
            <a:ext cx="77470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17DABC26-2CDA-4AF1-B23C-6F1A27692B8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id="{6C09693D-D1F2-42F4-89F6-F0B98518D4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588"/>
            <a:ext cx="534987" cy="184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200" smtClean="0">
                <a:latin typeface="Manrope" pitchFamily="2" charset="0"/>
              </a:defRPr>
            </a:lvl1pPr>
          </a:lstStyle>
          <a:p>
            <a:pPr>
              <a:defRPr/>
            </a:pPr>
            <a:fld id="{3BD230EB-9DC5-4C48-B87E-27613E23585C}" type="slidenum">
              <a:rPr lang="en-US" altLang="cs-CZ"/>
              <a:pPr>
                <a:defRPr/>
              </a:pPr>
              <a:t>‹#›</a:t>
            </a:fld>
            <a:endParaRPr lang="en-US" altLang="cs-CZ"/>
          </a:p>
        </p:txBody>
      </p:sp>
      <p:sp>
        <p:nvSpPr>
          <p:cNvPr id="5128" name="doc id">
            <a:extLst>
              <a:ext uri="{FF2B5EF4-FFF2-40B4-BE49-F238E27FC236}">
                <a16:creationId xmlns:a16="http://schemas.microsoft.com/office/drawing/2014/main" id="{818D4E58-4899-483E-8969-D2452A36324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972050" y="109538"/>
            <a:ext cx="15811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buClrTx/>
              <a:defRPr sz="800">
                <a:latin typeface="Manrope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PRA-AAA000-2010xxxx-xxxxxP1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Manrope" pitchFamily="2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Manrope" pitchFamily="2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Manrope" pitchFamily="2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Manrope" pitchFamily="2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Manrop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>
            <a:extLst>
              <a:ext uri="{FF2B5EF4-FFF2-40B4-BE49-F238E27FC236}">
                <a16:creationId xmlns:a16="http://schemas.microsoft.com/office/drawing/2014/main" id="{A47EF5FF-2E96-42CD-A2BC-CF555D5CAAA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9pPr>
          </a:lstStyle>
          <a:p>
            <a:pPr>
              <a:buClrTx/>
            </a:pPr>
            <a:fld id="{F10A40C2-DAB1-48A9-BF07-9A54E6307903}" type="slidenum">
              <a:rPr lang="en-US" altLang="cs-CZ" sz="1200">
                <a:latin typeface="Arial" panose="020B0604020202020204" pitchFamily="34" charset="0"/>
              </a:rPr>
              <a:pPr>
                <a:buClrTx/>
              </a:pPr>
              <a:t>0</a:t>
            </a:fld>
            <a:endParaRPr lang="en-US" altLang="cs-CZ" sz="1200">
              <a:latin typeface="Arial" panose="020B0604020202020204" pitchFamily="34" charset="0"/>
            </a:endParaRPr>
          </a:p>
        </p:txBody>
      </p:sp>
      <p:sp>
        <p:nvSpPr>
          <p:cNvPr id="9219" name="doc id">
            <a:extLst>
              <a:ext uri="{FF2B5EF4-FFF2-40B4-BE49-F238E27FC236}">
                <a16:creationId xmlns:a16="http://schemas.microsoft.com/office/drawing/2014/main" id="{FA1F53DF-4985-49E9-A67B-09F88456403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9pPr>
          </a:lstStyle>
          <a:p>
            <a:pPr>
              <a:buClrTx/>
            </a:pPr>
            <a:r>
              <a:rPr lang="en-US" altLang="cs-CZ" sz="800">
                <a:latin typeface="Arial" panose="020B0604020202020204" pitchFamily="34" charset="0"/>
                <a:cs typeface="Arial" panose="020B0604020202020204" pitchFamily="34" charset="0"/>
              </a:rPr>
              <a:t>PRA-AAA000-2010xxxx-xxxxxP1E</a:t>
            </a:r>
          </a:p>
        </p:txBody>
      </p:sp>
      <p:sp>
        <p:nvSpPr>
          <p:cNvPr id="9220" name="Rectangle 2">
            <a:extLst>
              <a:ext uri="{FF2B5EF4-FFF2-40B4-BE49-F238E27FC236}">
                <a16:creationId xmlns:a16="http://schemas.microsoft.com/office/drawing/2014/main" id="{AAF42F45-4B43-471B-B298-C5D6AC1581B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1" name="Rectangle 3">
            <a:extLst>
              <a:ext uri="{FF2B5EF4-FFF2-40B4-BE49-F238E27FC236}">
                <a16:creationId xmlns:a16="http://schemas.microsoft.com/office/drawing/2014/main" id="{7EEF8412-F9EC-4D77-9372-309B7482DB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cs-CZ" altLang="cs-CZ">
                <a:latin typeface="Arial" panose="020B0604020202020204" pitchFamily="34" charset="0"/>
              </a:rPr>
              <a:t>úvod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1x ročně pro top zákazníky plzeňského prazdroje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6C155D-0E5E-43C6-9FB5-039B0DFC6876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6528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>
          <a:xfrm>
            <a:off x="550470" y="5334832"/>
            <a:ext cx="5792746" cy="246221"/>
          </a:xfrm>
        </p:spPr>
        <p:txBody>
          <a:bodyPr/>
          <a:lstStyle/>
          <a:p>
            <a:r>
              <a:rPr lang="cs-CZ" dirty="0"/>
              <a:t>- Jak k řešení přistoupili,</a:t>
            </a:r>
            <a:r>
              <a:rPr lang="cs-CZ" baseline="0" dirty="0"/>
              <a:t> co byl proces, jak na něj přišli… </a:t>
            </a:r>
          </a:p>
          <a:p>
            <a:r>
              <a:rPr lang="cs-CZ" baseline="0" dirty="0"/>
              <a:t>- Na vítězný tým bude čekat odměna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4CA9045-0859-4707-8047-7212AA7EDB58}" type="slidenum">
              <a:rPr kumimoji="0" lang="en-US" alt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 pitchFamily="2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cs-CZ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nrope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nrope" pitchFamily="2" charset="0"/>
                <a:ea typeface="+mn-ea"/>
                <a:cs typeface="Arial" charset="0"/>
              </a:rPr>
              <a:t>PRA-AAA000-2010xxxx-xxxxxP1E</a:t>
            </a:r>
          </a:p>
        </p:txBody>
      </p:sp>
    </p:spTree>
    <p:extLst>
      <p:ext uri="{BB962C8B-B14F-4D97-AF65-F5344CB8AC3E}">
        <p14:creationId xmlns:p14="http://schemas.microsoft.com/office/powerpoint/2010/main" val="2590838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>
            <a:extLst>
              <a:ext uri="{FF2B5EF4-FFF2-40B4-BE49-F238E27FC236}">
                <a16:creationId xmlns:a16="http://schemas.microsoft.com/office/drawing/2014/main" id="{1DEBF1F7-239C-43C7-B463-BB126772906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9pPr>
          </a:lstStyle>
          <a:p>
            <a:pPr>
              <a:buClrTx/>
            </a:pPr>
            <a:fld id="{EF649C5D-21CD-4ABF-B01C-021D31B7FDAF}" type="slidenum">
              <a:rPr lang="en-US" altLang="cs-CZ" sz="1200"/>
              <a:pPr>
                <a:buClrTx/>
              </a:pPr>
              <a:t>13</a:t>
            </a:fld>
            <a:endParaRPr lang="en-US" altLang="cs-CZ" sz="1200"/>
          </a:p>
        </p:txBody>
      </p:sp>
      <p:sp>
        <p:nvSpPr>
          <p:cNvPr id="83971" name="doc id">
            <a:extLst>
              <a:ext uri="{FF2B5EF4-FFF2-40B4-BE49-F238E27FC236}">
                <a16:creationId xmlns:a16="http://schemas.microsoft.com/office/drawing/2014/main" id="{828E8F98-33EA-4537-9D61-A6D734C7AE4D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1pPr>
            <a:lvl2pPr marL="742950" indent="-285750">
              <a:buClr>
                <a:schemeClr val="tx2"/>
              </a:buClr>
              <a:buSzPct val="120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3pPr>
            <a:lvl4pPr marL="1600200" indent="-228600">
              <a:buClr>
                <a:schemeClr val="tx2"/>
              </a:buClr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Manrope" panose="020B0604020202020204" pitchFamily="2" charset="0"/>
              </a:defRPr>
            </a:lvl9pPr>
          </a:lstStyle>
          <a:p>
            <a:pPr>
              <a:buClrTx/>
            </a:pPr>
            <a:r>
              <a:rPr lang="en-US" altLang="cs-CZ" sz="800">
                <a:cs typeface="Arial" panose="020B0604020202020204" pitchFamily="34" charset="0"/>
              </a:rPr>
              <a:t>PRA-AAA000-2010xxxx-xxxxxP1E</a:t>
            </a:r>
          </a:p>
        </p:txBody>
      </p:sp>
      <p:sp>
        <p:nvSpPr>
          <p:cNvPr id="83972" name="Rectangle 2">
            <a:extLst>
              <a:ext uri="{FF2B5EF4-FFF2-40B4-BE49-F238E27FC236}">
                <a16:creationId xmlns:a16="http://schemas.microsoft.com/office/drawing/2014/main" id="{6B726335-128F-4829-B964-BACA5BBB3D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3" name="Rectangle 3">
            <a:extLst>
              <a:ext uri="{FF2B5EF4-FFF2-40B4-BE49-F238E27FC236}">
                <a16:creationId xmlns:a16="http://schemas.microsoft.com/office/drawing/2014/main" id="{C12752D9-3CD2-43EB-A1B9-2D7D78FE04E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6100" y="5322888"/>
            <a:ext cx="5746750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en-GB" altLang="cs-CZ"/>
              <a:t>D</a:t>
            </a:r>
            <a:r>
              <a:rPr lang="cs-CZ" altLang="cs-CZ"/>
              <a:t>ěkuji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6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D2427498-7B82-4CFA-A84C-F25419F36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54125"/>
            <a:ext cx="11949113" cy="797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cK Document type">
            <a:extLst>
              <a:ext uri="{FF2B5EF4-FFF2-40B4-BE49-F238E27FC236}">
                <a16:creationId xmlns:a16="http://schemas.microsoft.com/office/drawing/2014/main" id="{1BC14D61-B4E5-45E4-B3CB-0B0364D79C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596313" y="6205538"/>
            <a:ext cx="1792287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>
              <a:lnSpc>
                <a:spcPct val="110000"/>
              </a:lnSpc>
              <a:buClr>
                <a:schemeClr val="tx2"/>
              </a:buClr>
              <a:defRPr sz="22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buClr>
                <a:schemeClr val="accent1"/>
              </a:buClr>
              <a:buSzPct val="140000"/>
              <a:buFont typeface="Arial" panose="020B0604020202020204" pitchFamily="34" charset="0"/>
              <a:buChar char="▪"/>
              <a:defRPr sz="20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buClr>
                <a:schemeClr val="accent1"/>
              </a:buClr>
              <a:buSzPct val="120000"/>
              <a:buFont typeface="Arial" panose="020B0604020202020204" pitchFamily="34" charset="0"/>
              <a:buChar char="▪"/>
              <a:defRPr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3pPr>
            <a:lvl4pPr marL="1600200" indent="-2286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4pPr>
            <a:lvl5pPr marL="2057400" indent="-228600">
              <a:lnSpc>
                <a:spcPct val="110000"/>
              </a:lnSpc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defRPr/>
            </a:pPr>
            <a:endParaRPr lang="en-US" altLang="cs-CZ" sz="1400">
              <a:latin typeface="Arial" panose="020B0604020202020204" pitchFamily="34" charset="0"/>
            </a:endParaRPr>
          </a:p>
        </p:txBody>
      </p:sp>
      <p:pic>
        <p:nvPicPr>
          <p:cNvPr id="8" name="Picture 13">
            <a:extLst>
              <a:ext uri="{FF2B5EF4-FFF2-40B4-BE49-F238E27FC236}">
                <a16:creationId xmlns:a16="http://schemas.microsoft.com/office/drawing/2014/main" id="{24D4BDAB-549F-4BA4-BA31-F36462ED49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88" y="3082925"/>
            <a:ext cx="3502025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244600" y="5045075"/>
            <a:ext cx="9639300" cy="492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endParaRPr lang="cs-CZ" altLang="cs-CZ"/>
          </a:p>
        </p:txBody>
      </p:sp>
      <p:sp>
        <p:nvSpPr>
          <p:cNvPr id="6" name="Subtitle 2"/>
          <p:cNvSpPr>
            <a:spLocks noGrp="1" noChangeArrowheads="1"/>
          </p:cNvSpPr>
          <p:nvPr>
            <p:ph type="subTitle" idx="1"/>
          </p:nvPr>
        </p:nvSpPr>
        <p:spPr>
          <a:xfrm>
            <a:off x="1244600" y="5583238"/>
            <a:ext cx="9639300" cy="3222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503172641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456" y="1111300"/>
            <a:ext cx="10754201" cy="837948"/>
          </a:xfrm>
        </p:spPr>
        <p:txBody>
          <a:bodyPr/>
          <a:lstStyle>
            <a:lvl1pPr>
              <a:defRPr sz="3500" b="1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7456" y="2019824"/>
            <a:ext cx="5277524" cy="398438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4133" y="2019824"/>
            <a:ext cx="5277524" cy="398438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21779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456" y="1102353"/>
            <a:ext cx="10754201" cy="837948"/>
          </a:xfrm>
        </p:spPr>
        <p:txBody>
          <a:bodyPr/>
          <a:lstStyle>
            <a:lvl1pPr>
              <a:defRPr sz="3500" b="1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7458" y="2019822"/>
            <a:ext cx="527960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975" y="2796142"/>
            <a:ext cx="5266082" cy="32080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69986" y="2019822"/>
            <a:ext cx="5281674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69986" y="2796142"/>
            <a:ext cx="5174058" cy="32080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7669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456" y="1102353"/>
            <a:ext cx="10754201" cy="837948"/>
          </a:xfrm>
        </p:spPr>
        <p:txBody>
          <a:bodyPr/>
          <a:lstStyle>
            <a:lvl1pPr>
              <a:defRPr sz="3500" b="1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717190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3440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7456" y="1384652"/>
            <a:ext cx="4718416" cy="1138917"/>
          </a:xfrm>
        </p:spPr>
        <p:txBody>
          <a:bodyPr anchor="b">
            <a:normAutofit/>
          </a:bodyPr>
          <a:lstStyle>
            <a:lvl1pPr algn="l">
              <a:defRPr sz="2000" b="1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9970" y="1384653"/>
            <a:ext cx="5941688" cy="461955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7456" y="2725568"/>
            <a:ext cx="4718416" cy="3278640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4253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2110" y="4705033"/>
            <a:ext cx="7169468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04735" y="1243503"/>
            <a:ext cx="7206842" cy="3389959"/>
          </a:xfrm>
        </p:spPr>
        <p:txBody>
          <a:bodyPr rtlCol="0">
            <a:normAutofit/>
          </a:bodyPr>
          <a:lstStyle>
            <a:lvl1pPr marL="0" indent="0">
              <a:buNone/>
              <a:defRPr sz="3100"/>
            </a:lvl1pPr>
            <a:lvl2pPr marL="448056" indent="0">
              <a:buNone/>
              <a:defRPr sz="2700"/>
            </a:lvl2pPr>
            <a:lvl3pPr marL="896112" indent="0">
              <a:buNone/>
              <a:defRPr sz="2400"/>
            </a:lvl3pPr>
            <a:lvl4pPr marL="1344168" indent="0">
              <a:buNone/>
              <a:defRPr sz="2000"/>
            </a:lvl4pPr>
            <a:lvl5pPr marL="1792224" indent="0">
              <a:buNone/>
              <a:defRPr sz="2000"/>
            </a:lvl5pPr>
            <a:lvl6pPr marL="2240280" indent="0">
              <a:buNone/>
              <a:defRPr sz="2000"/>
            </a:lvl6pPr>
            <a:lvl7pPr marL="2688336" indent="0">
              <a:buNone/>
              <a:defRPr sz="2000"/>
            </a:lvl7pPr>
            <a:lvl8pPr marL="3136392" indent="0">
              <a:buNone/>
              <a:defRPr sz="2000"/>
            </a:lvl8pPr>
            <a:lvl9pPr marL="3584448" indent="0">
              <a:buNone/>
              <a:defRPr sz="2000"/>
            </a:lvl9pPr>
          </a:lstStyle>
          <a:p>
            <a:pPr lvl="0"/>
            <a:r>
              <a:rPr lang="cs-CZ" noProof="0"/>
              <a:t>Kliknutím na ikonu přidáte obrázek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42110" y="5260490"/>
            <a:ext cx="7169468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4702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0762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63108" y="1172928"/>
            <a:ext cx="2675033" cy="4728492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7456" y="1172929"/>
            <a:ext cx="7866499" cy="4831279"/>
          </a:xfrm>
        </p:spPr>
        <p:txBody>
          <a:bodyPr vert="eaVert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89964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30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Rectangle 123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1244656" y="5643564"/>
            <a:ext cx="9639727" cy="484187"/>
            <a:chOff x="588" y="3555"/>
            <a:chExt cx="4554" cy="305"/>
          </a:xfrm>
        </p:grpSpPr>
        <p:sp>
          <p:nvSpPr>
            <p:cNvPr id="7" name="McK Document type" hidden="1"/>
            <p:cNvSpPr txBox="1">
              <a:spLocks noChangeArrowheads="1"/>
            </p:cNvSpPr>
            <p:nvPr/>
          </p:nvSpPr>
          <p:spPr bwMode="auto">
            <a:xfrm>
              <a:off x="588" y="3555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/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/>
          </p:nvSpPr>
          <p:spPr bwMode="auto">
            <a:xfrm>
              <a:off x="588" y="3724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/>
                <a:t>Date</a:t>
              </a:r>
            </a:p>
          </p:txBody>
        </p:sp>
      </p:grpSp>
      <p:pic>
        <p:nvPicPr>
          <p:cNvPr id="9" name="Picture 2" descr="X:\Práce\plzeňský prazdroj\ostatni\PPAS_externi\links\pruh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1" y="4214813"/>
            <a:ext cx="11961814" cy="250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Zástupný symbol pro obrázek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1949113" cy="4214812"/>
          </a:xfrm>
        </p:spPr>
        <p:txBody>
          <a:bodyPr/>
          <a:lstStyle/>
          <a:p>
            <a:pPr lvl="0"/>
            <a:endParaRPr lang="cs-CZ" noProof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44086" y="5045181"/>
            <a:ext cx="9639727" cy="49244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44668" y="5583746"/>
            <a:ext cx="9639727" cy="338554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50188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1"/>
          <a:ext cx="191492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91492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8"/>
          <p:cNvSpPr txBox="1"/>
          <p:nvPr>
            <p:custDataLst>
              <p:tags r:id="rId2"/>
            </p:custDataLst>
          </p:nvPr>
        </p:nvSpPr>
        <p:spPr>
          <a:xfrm>
            <a:off x="5918640" y="6289846"/>
            <a:ext cx="221001" cy="224849"/>
          </a:xfrm>
          <a:prstGeom prst="rect">
            <a:avLst/>
          </a:prstGeom>
          <a:noFill/>
        </p:spPr>
        <p:txBody>
          <a:bodyPr wrap="none" lIns="42757" tIns="42757" rIns="42757" bIns="42757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855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1CB6BE-83CE-46A9-A20A-52134B227620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  <a:sym typeface="Calibri"/>
              </a:rPr>
              <a:pPr marL="0" marR="0" lvl="0" indent="0" algn="ctr" defTabSz="855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/>
              <a:ea typeface="+mn-ea"/>
              <a:cs typeface="Arial" pitchFamily="34" charset="0"/>
              <a:sym typeface="Calibri"/>
            </a:endParaRPr>
          </a:p>
        </p:txBody>
      </p:sp>
      <p:sp>
        <p:nvSpPr>
          <p:cNvPr id="6" name="AutoShape 3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2219394" y="2792836"/>
            <a:ext cx="1371085" cy="739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514" tIns="42757" rIns="85514" bIns="42757"/>
          <a:lstStyle/>
          <a:p>
            <a:pPr marL="0" marR="0" lvl="0" indent="0" algn="l" defTabSz="8551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9855" y="52277"/>
            <a:ext cx="9446004" cy="896197"/>
          </a:xfrm>
          <a:noFill/>
          <a:ln>
            <a:noFill/>
          </a:ln>
        </p:spPr>
        <p:txBody>
          <a:bodyPr lIns="85514" rIns="85514"/>
          <a:lstStyle>
            <a:lvl1pPr>
              <a:defRPr lang="en-GB" sz="2200" b="1" kern="1200" dirty="0">
                <a:solidFill>
                  <a:schemeClr val="bg1"/>
                </a:solidFill>
                <a:latin typeface="Calibri"/>
                <a:ea typeface="+mj-ea"/>
                <a:cs typeface="Arial" pitchFamily="34" charset="0"/>
                <a:sym typeface="Calibri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657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252B4917-9E1E-4038-BCD8-26582FC91D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7088" y="-1312863"/>
            <a:ext cx="12776201" cy="8528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1230" hidden="1">
            <a:extLst>
              <a:ext uri="{FF2B5EF4-FFF2-40B4-BE49-F238E27FC236}">
                <a16:creationId xmlns:a16="http://schemas.microsoft.com/office/drawing/2014/main" id="{CAD3B140-58EF-401D-9FDC-4FDC0200D8B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230" hidden="1">
                        <a:extLst>
                          <a:ext uri="{FF2B5EF4-FFF2-40B4-BE49-F238E27FC236}">
                            <a16:creationId xmlns:a16="http://schemas.microsoft.com/office/drawing/2014/main" id="{CAD3B140-58EF-401D-9FDC-4FDC0200D8B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>
            <a:extLst>
              <a:ext uri="{FF2B5EF4-FFF2-40B4-BE49-F238E27FC236}">
                <a16:creationId xmlns:a16="http://schemas.microsoft.com/office/drawing/2014/main" id="{008A974C-DBC6-4D87-AAEF-3C310E749514}"/>
              </a:ext>
            </a:extLst>
          </p:cNvPr>
          <p:cNvGrpSpPr>
            <a:grpSpLocks/>
          </p:cNvGrpSpPr>
          <p:nvPr/>
        </p:nvGrpSpPr>
        <p:grpSpPr bwMode="auto">
          <a:xfrm>
            <a:off x="1244600" y="5643563"/>
            <a:ext cx="9639300" cy="484187"/>
            <a:chOff x="588" y="3555"/>
            <a:chExt cx="4554" cy="305"/>
          </a:xfrm>
        </p:grpSpPr>
        <p:sp>
          <p:nvSpPr>
            <p:cNvPr id="7" name="McK Document type" hidden="1">
              <a:extLst>
                <a:ext uri="{FF2B5EF4-FFF2-40B4-BE49-F238E27FC236}">
                  <a16:creationId xmlns:a16="http://schemas.microsoft.com/office/drawing/2014/main" id="{EBF21FCF-AE53-4106-BA2F-8B46D5AB32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" y="3555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latin typeface="Manrope" pitchFamily="2" charset="0"/>
                </a:rPr>
                <a:t>Document type</a:t>
              </a:r>
            </a:p>
          </p:txBody>
        </p:sp>
        <p:sp>
          <p:nvSpPr>
            <p:cNvPr id="8" name="McK Date" hidden="1">
              <a:extLst>
                <a:ext uri="{FF2B5EF4-FFF2-40B4-BE49-F238E27FC236}">
                  <a16:creationId xmlns:a16="http://schemas.microsoft.com/office/drawing/2014/main" id="{B070EFCA-38D0-4F2C-AD1E-C54F35E4A9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" y="3724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>
                  <a:latin typeface="Manrope" pitchFamily="2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44088" y="5045183"/>
            <a:ext cx="9639727" cy="492443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44669" y="5583746"/>
            <a:ext cx="9639727" cy="33855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5017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30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Rectangle 123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1244656" y="5643564"/>
            <a:ext cx="9639727" cy="484187"/>
            <a:chOff x="588" y="3555"/>
            <a:chExt cx="4554" cy="305"/>
          </a:xfrm>
        </p:grpSpPr>
        <p:sp>
          <p:nvSpPr>
            <p:cNvPr id="7" name="McK Document type" hidden="1"/>
            <p:cNvSpPr txBox="1">
              <a:spLocks noChangeArrowheads="1"/>
            </p:cNvSpPr>
            <p:nvPr/>
          </p:nvSpPr>
          <p:spPr bwMode="auto">
            <a:xfrm>
              <a:off x="588" y="3555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/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/>
          </p:nvSpPr>
          <p:spPr bwMode="auto">
            <a:xfrm>
              <a:off x="588" y="3724"/>
              <a:ext cx="455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/>
                <a:t>Date</a:t>
              </a:r>
            </a:p>
          </p:txBody>
        </p:sp>
      </p:grpSp>
      <p:sp>
        <p:nvSpPr>
          <p:cNvPr id="11" name="Zástupný symbol pro obrázek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1949113" cy="343492"/>
          </a:xfrm>
        </p:spPr>
        <p:txBody>
          <a:bodyPr/>
          <a:lstStyle/>
          <a:p>
            <a:pPr lvl="0"/>
            <a:endParaRPr lang="cs-CZ" noProof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44086" y="5045181"/>
            <a:ext cx="9639727" cy="49244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3200">
                <a:solidFill>
                  <a:srgbClr val="B59956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44668" y="5583746"/>
            <a:ext cx="9639727" cy="312330"/>
          </a:xfrm>
        </p:spPr>
        <p:txBody>
          <a:bodyPr/>
          <a:lstStyle>
            <a:lvl1pPr>
              <a:defRPr sz="2000">
                <a:solidFill>
                  <a:srgbClr val="B59956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03580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3086429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44077" y="4319602"/>
            <a:ext cx="10156216" cy="615681"/>
          </a:xfrm>
        </p:spPr>
        <p:txBody>
          <a:bodyPr/>
          <a:lstStyle>
            <a:lvl1pPr algn="l">
              <a:defRPr sz="4001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44077" y="4007258"/>
            <a:ext cx="10156216" cy="31233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315" indent="0">
              <a:buNone/>
              <a:defRPr sz="1800"/>
            </a:lvl2pPr>
            <a:lvl3pPr marL="914630" indent="0">
              <a:buNone/>
              <a:defRPr sz="1600"/>
            </a:lvl3pPr>
            <a:lvl4pPr marL="1371944" indent="0">
              <a:buNone/>
              <a:defRPr sz="1400"/>
            </a:lvl4pPr>
            <a:lvl5pPr marL="1829258" indent="0">
              <a:buNone/>
              <a:defRPr sz="1400"/>
            </a:lvl5pPr>
            <a:lvl6pPr marL="2286570" indent="0">
              <a:buNone/>
              <a:defRPr sz="1400"/>
            </a:lvl6pPr>
            <a:lvl7pPr marL="2743889" indent="0">
              <a:buNone/>
              <a:defRPr sz="1400"/>
            </a:lvl7pPr>
            <a:lvl8pPr marL="3201200" indent="0">
              <a:buNone/>
              <a:defRPr sz="1400"/>
            </a:lvl8pPr>
            <a:lvl9pPr marL="3658515" indent="0">
              <a:buNone/>
              <a:defRPr sz="14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2327122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230728" y="1951053"/>
            <a:ext cx="5651750" cy="2302425"/>
          </a:xfrm>
        </p:spPr>
        <p:txBody>
          <a:bodyPr/>
          <a:lstStyle>
            <a:lvl1pPr>
              <a:defRPr sz="2801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85687" y="1951053"/>
            <a:ext cx="5653866" cy="2302425"/>
          </a:xfrm>
        </p:spPr>
        <p:txBody>
          <a:bodyPr/>
          <a:lstStyle>
            <a:lvl1pPr>
              <a:defRPr sz="2801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14595643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96927" y="269879"/>
            <a:ext cx="10755260" cy="431015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596927" y="1351031"/>
            <a:ext cx="5279200" cy="780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315" indent="0">
              <a:buNone/>
              <a:defRPr sz="2000" b="1"/>
            </a:lvl2pPr>
            <a:lvl3pPr marL="914630" indent="0">
              <a:buNone/>
              <a:defRPr sz="1800" b="1"/>
            </a:lvl3pPr>
            <a:lvl4pPr marL="1371944" indent="0">
              <a:buNone/>
              <a:defRPr sz="1600" b="1"/>
            </a:lvl4pPr>
            <a:lvl5pPr marL="1829258" indent="0">
              <a:buNone/>
              <a:defRPr sz="1600" b="1"/>
            </a:lvl5pPr>
            <a:lvl6pPr marL="2286570" indent="0">
              <a:buNone/>
              <a:defRPr sz="1600" b="1"/>
            </a:lvl6pPr>
            <a:lvl7pPr marL="2743889" indent="0">
              <a:buNone/>
              <a:defRPr sz="1600" b="1"/>
            </a:lvl7pPr>
            <a:lvl8pPr marL="3201200" indent="0">
              <a:buNone/>
              <a:defRPr sz="1600" b="1"/>
            </a:lvl8pPr>
            <a:lvl9pPr marL="3658515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96927" y="2132013"/>
            <a:ext cx="5279200" cy="199747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070869" y="1351031"/>
            <a:ext cx="5281318" cy="780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315" indent="0">
              <a:buNone/>
              <a:defRPr sz="2000" b="1"/>
            </a:lvl2pPr>
            <a:lvl3pPr marL="914630" indent="0">
              <a:buNone/>
              <a:defRPr sz="1800" b="1"/>
            </a:lvl3pPr>
            <a:lvl4pPr marL="1371944" indent="0">
              <a:buNone/>
              <a:defRPr sz="1600" b="1"/>
            </a:lvl4pPr>
            <a:lvl5pPr marL="1829258" indent="0">
              <a:buNone/>
              <a:defRPr sz="1600" b="1"/>
            </a:lvl5pPr>
            <a:lvl6pPr marL="2286570" indent="0">
              <a:buNone/>
              <a:defRPr sz="1600" b="1"/>
            </a:lvl6pPr>
            <a:lvl7pPr marL="2743889" indent="0">
              <a:buNone/>
              <a:defRPr sz="1600" b="1"/>
            </a:lvl7pPr>
            <a:lvl8pPr marL="3201200" indent="0">
              <a:buNone/>
              <a:defRPr sz="1600" b="1"/>
            </a:lvl8pPr>
            <a:lvl9pPr marL="3658515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070869" y="2132013"/>
            <a:ext cx="5281318" cy="199747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3976445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29875597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23719994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96926" y="1098762"/>
            <a:ext cx="3930825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1691" y="268307"/>
            <a:ext cx="6680496" cy="2640851"/>
          </a:xfrm>
        </p:spPr>
        <p:txBody>
          <a:bodyPr/>
          <a:lstStyle>
            <a:lvl1pPr>
              <a:defRPr sz="3200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596926" y="1406525"/>
            <a:ext cx="3930825" cy="218586"/>
          </a:xfrm>
        </p:spPr>
        <p:txBody>
          <a:bodyPr/>
          <a:lstStyle>
            <a:lvl1pPr marL="0" indent="0">
              <a:buNone/>
              <a:defRPr sz="1400"/>
            </a:lvl1pPr>
            <a:lvl2pPr marL="457315" indent="0">
              <a:buNone/>
              <a:defRPr sz="1200"/>
            </a:lvl2pPr>
            <a:lvl3pPr marL="914630" indent="0">
              <a:buNone/>
              <a:defRPr sz="1000"/>
            </a:lvl3pPr>
            <a:lvl4pPr marL="1371944" indent="0">
              <a:buNone/>
              <a:defRPr sz="900"/>
            </a:lvl4pPr>
            <a:lvl5pPr marL="1829258" indent="0">
              <a:buNone/>
              <a:defRPr sz="900"/>
            </a:lvl5pPr>
            <a:lvl6pPr marL="2286570" indent="0">
              <a:buNone/>
              <a:defRPr sz="900"/>
            </a:lvl6pPr>
            <a:lvl7pPr marL="2743889" indent="0">
              <a:buNone/>
              <a:defRPr sz="900"/>
            </a:lvl7pPr>
            <a:lvl8pPr marL="3201200" indent="0">
              <a:buNone/>
              <a:defRPr sz="900"/>
            </a:lvl8pPr>
            <a:lvl9pPr marL="3658515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819200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41139" y="4953217"/>
            <a:ext cx="7169468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41139" y="600088"/>
            <a:ext cx="7169468" cy="499689"/>
          </a:xfrm>
        </p:spPr>
        <p:txBody>
          <a:bodyPr/>
          <a:lstStyle>
            <a:lvl1pPr marL="0" indent="0">
              <a:buNone/>
              <a:defRPr sz="3200"/>
            </a:lvl1pPr>
            <a:lvl2pPr marL="457315" indent="0">
              <a:buNone/>
              <a:defRPr sz="2801"/>
            </a:lvl2pPr>
            <a:lvl3pPr marL="914630" indent="0">
              <a:buNone/>
              <a:defRPr sz="2400"/>
            </a:lvl3pPr>
            <a:lvl4pPr marL="1371944" indent="0">
              <a:buNone/>
              <a:defRPr sz="2000"/>
            </a:lvl4pPr>
            <a:lvl5pPr marL="1829258" indent="0">
              <a:buNone/>
              <a:defRPr sz="2000"/>
            </a:lvl5pPr>
            <a:lvl6pPr marL="2286570" indent="0">
              <a:buNone/>
              <a:defRPr sz="2000"/>
            </a:lvl6pPr>
            <a:lvl7pPr marL="2743889" indent="0">
              <a:buNone/>
              <a:defRPr sz="2000"/>
            </a:lvl7pPr>
            <a:lvl8pPr marL="3201200" indent="0">
              <a:buNone/>
              <a:defRPr sz="2000"/>
            </a:lvl8pPr>
            <a:lvl9pPr marL="3658515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41139" y="5260980"/>
            <a:ext cx="7169468" cy="218586"/>
          </a:xfrm>
        </p:spPr>
        <p:txBody>
          <a:bodyPr/>
          <a:lstStyle>
            <a:lvl1pPr marL="0" indent="0">
              <a:buNone/>
              <a:defRPr sz="1400"/>
            </a:lvl1pPr>
            <a:lvl2pPr marL="457315" indent="0">
              <a:buNone/>
              <a:defRPr sz="1200"/>
            </a:lvl2pPr>
            <a:lvl3pPr marL="914630" indent="0">
              <a:buNone/>
              <a:defRPr sz="1000"/>
            </a:lvl3pPr>
            <a:lvl4pPr marL="1371944" indent="0">
              <a:buNone/>
              <a:defRPr sz="900"/>
            </a:lvl4pPr>
            <a:lvl5pPr marL="1829258" indent="0">
              <a:buNone/>
              <a:defRPr sz="900"/>
            </a:lvl5pPr>
            <a:lvl6pPr marL="2286570" indent="0">
              <a:buNone/>
              <a:defRPr sz="900"/>
            </a:lvl6pPr>
            <a:lvl7pPr marL="2743889" indent="0">
              <a:buNone/>
              <a:defRPr sz="900"/>
            </a:lvl7pPr>
            <a:lvl8pPr marL="3201200" indent="0">
              <a:buNone/>
              <a:defRPr sz="900"/>
            </a:lvl8pPr>
            <a:lvl9pPr marL="3658515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6000466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9117241" y="1951057"/>
            <a:ext cx="2622321" cy="1929759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3288480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4"/>
          <p:cNvSpPr>
            <a:spLocks noGrp="1"/>
          </p:cNvSpPr>
          <p:nvPr>
            <p:ph type="subTitle" idx="1"/>
          </p:nvPr>
        </p:nvSpPr>
        <p:spPr bwMode="auto">
          <a:xfrm>
            <a:off x="1244600" y="925996"/>
            <a:ext cx="9639300" cy="4614647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27944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10877797" y="214313"/>
            <a:ext cx="861774" cy="3243262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782167" y="214313"/>
            <a:ext cx="1877502" cy="3243262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</p:spTree>
    <p:extLst>
      <p:ext uri="{BB962C8B-B14F-4D97-AF65-F5344CB8AC3E}">
        <p14:creationId xmlns:p14="http://schemas.microsoft.com/office/powerpoint/2010/main" val="42289377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30" hidden="1">
            <a:extLst>
              <a:ext uri="{FF2B5EF4-FFF2-40B4-BE49-F238E27FC236}">
                <a16:creationId xmlns:a16="http://schemas.microsoft.com/office/drawing/2014/main" id="{4919A2BC-9DD8-4EF6-82F4-21BA4D5DD2E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113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5" name="Rectangle 1230" hidden="1">
                        <a:extLst>
                          <a:ext uri="{FF2B5EF4-FFF2-40B4-BE49-F238E27FC236}">
                            <a16:creationId xmlns:a16="http://schemas.microsoft.com/office/drawing/2014/main" id="{4919A2BC-9DD8-4EF6-82F4-21BA4D5DD2E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>
            <a:extLst>
              <a:ext uri="{FF2B5EF4-FFF2-40B4-BE49-F238E27FC236}">
                <a16:creationId xmlns:a16="http://schemas.microsoft.com/office/drawing/2014/main" id="{83E4BFA1-7A87-47F1-A4E1-ACD474550674}"/>
              </a:ext>
            </a:extLst>
          </p:cNvPr>
          <p:cNvGrpSpPr>
            <a:grpSpLocks/>
          </p:cNvGrpSpPr>
          <p:nvPr/>
        </p:nvGrpSpPr>
        <p:grpSpPr bwMode="auto">
          <a:xfrm>
            <a:off x="1244601" y="5697538"/>
            <a:ext cx="9639300" cy="376237"/>
            <a:chOff x="588" y="3589"/>
            <a:chExt cx="4554" cy="237"/>
          </a:xfrm>
        </p:grpSpPr>
        <p:sp>
          <p:nvSpPr>
            <p:cNvPr id="7" name="McK Document type" hidden="1">
              <a:extLst>
                <a:ext uri="{FF2B5EF4-FFF2-40B4-BE49-F238E27FC236}">
                  <a16:creationId xmlns:a16="http://schemas.microsoft.com/office/drawing/2014/main" id="{C247F62A-C1CC-4975-8D14-F030D18982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" y="3589"/>
              <a:ext cx="4554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50"/>
                <a:t>Document type</a:t>
              </a:r>
            </a:p>
          </p:txBody>
        </p:sp>
        <p:sp>
          <p:nvSpPr>
            <p:cNvPr id="8" name="McK Date" hidden="1">
              <a:extLst>
                <a:ext uri="{FF2B5EF4-FFF2-40B4-BE49-F238E27FC236}">
                  <a16:creationId xmlns:a16="http://schemas.microsoft.com/office/drawing/2014/main" id="{C5BDCF1E-08A3-4F28-9FC2-36209CD59C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" y="3724"/>
              <a:ext cx="4554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50"/>
                <a:t>Date</a:t>
              </a:r>
            </a:p>
          </p:txBody>
        </p:sp>
      </p:grpSp>
      <p:sp>
        <p:nvSpPr>
          <p:cNvPr id="9" name="Zástupný symbol pro obrázek 2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1949113" cy="343492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cs-CZ" noProof="0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44089" y="5045184"/>
            <a:ext cx="9639727" cy="36933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ctr">
              <a:defRPr sz="2400" baseline="0">
                <a:solidFill>
                  <a:srgbClr val="B59956"/>
                </a:solidFill>
                <a:latin typeface="Unna" panose="02040503070705020203" pitchFamily="18" charset="-18"/>
              </a:defRPr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44670" y="5583746"/>
            <a:ext cx="9639727" cy="234231"/>
          </a:xfrm>
        </p:spPr>
        <p:txBody>
          <a:bodyPr/>
          <a:lstStyle>
            <a:lvl1pPr algn="ctr">
              <a:defRPr sz="1500">
                <a:solidFill>
                  <a:srgbClr val="B59956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95477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9777D37-E681-4218-BB5F-F7C414560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93639" y="1100020"/>
            <a:ext cx="8961835" cy="2340069"/>
          </a:xfrm>
        </p:spPr>
        <p:txBody>
          <a:bodyPr anchor="b"/>
          <a:lstStyle>
            <a:lvl1pPr algn="ctr">
              <a:defRPr sz="588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F3240635-542D-4628-93CA-6C2A5F3CB2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93639" y="3530331"/>
            <a:ext cx="8961835" cy="1622800"/>
          </a:xfrm>
        </p:spPr>
        <p:txBody>
          <a:bodyPr/>
          <a:lstStyle>
            <a:lvl1pPr marL="0" indent="0" algn="ctr">
              <a:buNone/>
              <a:defRPr sz="2352"/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D23356C-96E5-458F-9707-B82D4B91F4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D87DB9D-E40E-4943-809C-7C60B2619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1872413-DC49-4413-8CF1-C691123D2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645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B04DD8-730C-4655-A7B2-E45C6C0E6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6D0AD1C-EF38-4DEB-9096-1F5F0FE7DB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8263406-2A84-478A-B1A7-C9EA5950F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9F26E4D-483D-463F-A663-BF15A3DE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3C4CE27-AC92-4F1E-9E5E-D92B652AA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62106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45EAD2-7612-4729-8326-4957C4920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278" y="1675702"/>
            <a:ext cx="10306110" cy="2795946"/>
          </a:xfrm>
        </p:spPr>
        <p:txBody>
          <a:bodyPr anchor="b"/>
          <a:lstStyle>
            <a:lvl1pPr>
              <a:defRPr sz="588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6F248D1-52C0-45EC-812E-7DAF3CAA5D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5278" y="4498099"/>
            <a:ext cx="10306110" cy="1470322"/>
          </a:xfrm>
        </p:spPr>
        <p:txBody>
          <a:bodyPr/>
          <a:lstStyle>
            <a:lvl1pPr marL="0" indent="0">
              <a:buNone/>
              <a:defRPr sz="2352">
                <a:solidFill>
                  <a:schemeClr val="tx1">
                    <a:tint val="75000"/>
                  </a:schemeClr>
                </a:solidFill>
              </a:defRPr>
            </a:lvl1pPr>
            <a:lvl2pPr marL="44810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2pPr>
            <a:lvl3pPr marL="89620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344305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4pPr>
            <a:lvl5pPr marL="1792407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5pPr>
            <a:lvl6pPr marL="2240509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6pPr>
            <a:lvl7pPr marL="2688610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7pPr>
            <a:lvl8pPr marL="31367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8pPr>
            <a:lvl9pPr marL="3584814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27403E-701E-449E-B5C5-029DEEF479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EFAC7A4-AB73-4342-BE39-0C51F84B6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D6DC023-2A8B-42DB-B5C8-D1FE2186A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0482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84C8716-5B8C-4566-9632-D57FD4BDE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8932765-7098-40F8-88B6-9666575582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1502" y="1789282"/>
            <a:ext cx="5078373" cy="426471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85B217F-057F-4749-98E9-8B3460A29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49238" y="1789282"/>
            <a:ext cx="5078373" cy="426471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804FB39-47B3-4015-A590-687F7E0B4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A3FE82A-C131-4B1C-BA34-04F74E32E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40789F0-0D4A-47E4-A6AF-C43B8B826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41484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F4E94E-D7FE-4C85-89CE-0F3C7F80C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058" y="357857"/>
            <a:ext cx="10306110" cy="1299174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CA1F07B-9FC0-4955-966D-5707EDC30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3059" y="1647695"/>
            <a:ext cx="5055034" cy="807510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102" indent="0">
              <a:buNone/>
              <a:defRPr sz="1960" b="1"/>
            </a:lvl2pPr>
            <a:lvl3pPr marL="896203" indent="0">
              <a:buNone/>
              <a:defRPr sz="1764" b="1"/>
            </a:lvl3pPr>
            <a:lvl4pPr marL="1344305" indent="0">
              <a:buNone/>
              <a:defRPr sz="1568" b="1"/>
            </a:lvl4pPr>
            <a:lvl5pPr marL="1792407" indent="0">
              <a:buNone/>
              <a:defRPr sz="1568" b="1"/>
            </a:lvl5pPr>
            <a:lvl6pPr marL="2240509" indent="0">
              <a:buNone/>
              <a:defRPr sz="1568" b="1"/>
            </a:lvl6pPr>
            <a:lvl7pPr marL="2688610" indent="0">
              <a:buNone/>
              <a:defRPr sz="1568" b="1"/>
            </a:lvl7pPr>
            <a:lvl8pPr marL="3136712" indent="0">
              <a:buNone/>
              <a:defRPr sz="1568" b="1"/>
            </a:lvl8pPr>
            <a:lvl9pPr marL="3584814" indent="0">
              <a:buNone/>
              <a:defRPr sz="1568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69BA5B0-5E23-481A-BFA7-ED739E3BEC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3059" y="2455206"/>
            <a:ext cx="5055034" cy="361123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4EDEE56-1949-4ACC-8C09-AD9B5D63B5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49239" y="1647695"/>
            <a:ext cx="5079929" cy="807510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102" indent="0">
              <a:buNone/>
              <a:defRPr sz="1960" b="1"/>
            </a:lvl2pPr>
            <a:lvl3pPr marL="896203" indent="0">
              <a:buNone/>
              <a:defRPr sz="1764" b="1"/>
            </a:lvl3pPr>
            <a:lvl4pPr marL="1344305" indent="0">
              <a:buNone/>
              <a:defRPr sz="1568" b="1"/>
            </a:lvl4pPr>
            <a:lvl5pPr marL="1792407" indent="0">
              <a:buNone/>
              <a:defRPr sz="1568" b="1"/>
            </a:lvl5pPr>
            <a:lvl6pPr marL="2240509" indent="0">
              <a:buNone/>
              <a:defRPr sz="1568" b="1"/>
            </a:lvl6pPr>
            <a:lvl7pPr marL="2688610" indent="0">
              <a:buNone/>
              <a:defRPr sz="1568" b="1"/>
            </a:lvl7pPr>
            <a:lvl8pPr marL="3136712" indent="0">
              <a:buNone/>
              <a:defRPr sz="1568" b="1"/>
            </a:lvl8pPr>
            <a:lvl9pPr marL="3584814" indent="0">
              <a:buNone/>
              <a:defRPr sz="1568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85C08494-DC1D-4794-8840-A535A597AD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49239" y="2455206"/>
            <a:ext cx="5079929" cy="361123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8C8233F2-5AB2-41B9-A5FF-CB10BDDEAA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81ED26E-37FE-4E97-8676-C2FB41B1B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9793C89-A131-4116-AE99-35BBB57CC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080951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ADEBC09-1A37-4202-8D84-F85A7B94D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E259660D-085E-4947-BD14-B38DFECE5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0EF48B1-9F48-4BD3-B326-4D3676842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774524F-CE66-444F-AE46-58BC9FEAE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82044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8D6E6208-6EDE-46F1-ADC9-B884D30A7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D132BA4-37F6-4305-8628-ADB819ECA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866A0DF-285F-4C5C-BEF7-3DEB26A22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56087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F35737E-9517-45FA-94E1-89B80C240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058" y="448098"/>
            <a:ext cx="3853900" cy="1568344"/>
          </a:xfrm>
        </p:spPr>
        <p:txBody>
          <a:bodyPr anchor="b"/>
          <a:lstStyle>
            <a:lvl1pPr>
              <a:defRPr sz="3136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0C24C4A-66BA-4BD9-8777-9CA13E3C7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9930" y="967768"/>
            <a:ext cx="6049238" cy="4776604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B8FA9E2-3F43-43B2-8017-A7338478F7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3058" y="2016443"/>
            <a:ext cx="3853900" cy="3735709"/>
          </a:xfrm>
        </p:spPr>
        <p:txBody>
          <a:bodyPr/>
          <a:lstStyle>
            <a:lvl1pPr marL="0" indent="0">
              <a:buNone/>
              <a:defRPr sz="1568"/>
            </a:lvl1pPr>
            <a:lvl2pPr marL="448102" indent="0">
              <a:buNone/>
              <a:defRPr sz="1372"/>
            </a:lvl2pPr>
            <a:lvl3pPr marL="896203" indent="0">
              <a:buNone/>
              <a:defRPr sz="1176"/>
            </a:lvl3pPr>
            <a:lvl4pPr marL="1344305" indent="0">
              <a:buNone/>
              <a:defRPr sz="980"/>
            </a:lvl4pPr>
            <a:lvl5pPr marL="1792407" indent="0">
              <a:buNone/>
              <a:defRPr sz="980"/>
            </a:lvl5pPr>
            <a:lvl6pPr marL="2240509" indent="0">
              <a:buNone/>
              <a:defRPr sz="980"/>
            </a:lvl6pPr>
            <a:lvl7pPr marL="2688610" indent="0">
              <a:buNone/>
              <a:defRPr sz="980"/>
            </a:lvl7pPr>
            <a:lvl8pPr marL="3136712" indent="0">
              <a:buNone/>
              <a:defRPr sz="980"/>
            </a:lvl8pPr>
            <a:lvl9pPr marL="3584814" indent="0">
              <a:buNone/>
              <a:defRPr sz="98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0F6B4E2-69AB-43AF-8343-3F9CC00C4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711B10-F1F8-4428-B2FE-496C90009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AE81DDA-35AE-4DF5-B331-414AF2A1D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66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3446D321-B94B-4997-9C66-BF4F796BDD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461375" y="0"/>
            <a:ext cx="3487738" cy="6721475"/>
          </a:xfrm>
          <a:prstGeom prst="rect">
            <a:avLst/>
          </a:prstGeom>
          <a:solidFill>
            <a:srgbClr val="AB9F47"/>
          </a:solidFill>
          <a:ln>
            <a:noFill/>
          </a:ln>
        </p:spPr>
        <p:txBody>
          <a:bodyPr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  <a:defRPr/>
            </a:pPr>
            <a:endParaRPr lang="cs-CZ"/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auto">
          <a:xfrm>
            <a:off x="1244600" y="925996"/>
            <a:ext cx="6768024" cy="4614647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59006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F133F5-56D1-4EA7-BFB0-B98226295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058" y="448098"/>
            <a:ext cx="3853900" cy="1568344"/>
          </a:xfrm>
        </p:spPr>
        <p:txBody>
          <a:bodyPr anchor="b"/>
          <a:lstStyle>
            <a:lvl1pPr>
              <a:defRPr sz="3136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C66E79EC-E77A-4CDC-889F-43257C25DC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079930" y="967768"/>
            <a:ext cx="6049238" cy="4776604"/>
          </a:xfrm>
        </p:spPr>
        <p:txBody>
          <a:bodyPr/>
          <a:lstStyle>
            <a:lvl1pPr marL="0" indent="0">
              <a:buNone/>
              <a:defRPr sz="3136"/>
            </a:lvl1pPr>
            <a:lvl2pPr marL="448102" indent="0">
              <a:buNone/>
              <a:defRPr sz="2744"/>
            </a:lvl2pPr>
            <a:lvl3pPr marL="896203" indent="0">
              <a:buNone/>
              <a:defRPr sz="2352"/>
            </a:lvl3pPr>
            <a:lvl4pPr marL="1344305" indent="0">
              <a:buNone/>
              <a:defRPr sz="1960"/>
            </a:lvl4pPr>
            <a:lvl5pPr marL="1792407" indent="0">
              <a:buNone/>
              <a:defRPr sz="1960"/>
            </a:lvl5pPr>
            <a:lvl6pPr marL="2240509" indent="0">
              <a:buNone/>
              <a:defRPr sz="1960"/>
            </a:lvl6pPr>
            <a:lvl7pPr marL="2688610" indent="0">
              <a:buNone/>
              <a:defRPr sz="1960"/>
            </a:lvl7pPr>
            <a:lvl8pPr marL="3136712" indent="0">
              <a:buNone/>
              <a:defRPr sz="1960"/>
            </a:lvl8pPr>
            <a:lvl9pPr marL="3584814" indent="0">
              <a:buNone/>
              <a:defRPr sz="196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B6FBEC3-75DE-4A59-8A8F-6555453236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3058" y="2016443"/>
            <a:ext cx="3853900" cy="3735709"/>
          </a:xfrm>
        </p:spPr>
        <p:txBody>
          <a:bodyPr/>
          <a:lstStyle>
            <a:lvl1pPr marL="0" indent="0">
              <a:buNone/>
              <a:defRPr sz="1568"/>
            </a:lvl1pPr>
            <a:lvl2pPr marL="448102" indent="0">
              <a:buNone/>
              <a:defRPr sz="1372"/>
            </a:lvl2pPr>
            <a:lvl3pPr marL="896203" indent="0">
              <a:buNone/>
              <a:defRPr sz="1176"/>
            </a:lvl3pPr>
            <a:lvl4pPr marL="1344305" indent="0">
              <a:buNone/>
              <a:defRPr sz="980"/>
            </a:lvl4pPr>
            <a:lvl5pPr marL="1792407" indent="0">
              <a:buNone/>
              <a:defRPr sz="980"/>
            </a:lvl5pPr>
            <a:lvl6pPr marL="2240509" indent="0">
              <a:buNone/>
              <a:defRPr sz="980"/>
            </a:lvl6pPr>
            <a:lvl7pPr marL="2688610" indent="0">
              <a:buNone/>
              <a:defRPr sz="980"/>
            </a:lvl7pPr>
            <a:lvl8pPr marL="3136712" indent="0">
              <a:buNone/>
              <a:defRPr sz="980"/>
            </a:lvl8pPr>
            <a:lvl9pPr marL="3584814" indent="0">
              <a:buNone/>
              <a:defRPr sz="98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662CF7E-2372-41D1-9789-1F965D440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6FCD52D-AE0F-41C8-AD54-EDD4F8D29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CE78F81-BD35-4F93-82AE-C452C8F3D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558123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AE0FDF2-1EA5-42B1-B338-EAA52CFB2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D976A21-6714-4DB2-A4F6-87EDA6FCB8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C9E597F-77C2-4D94-A654-F549684B1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85E851A-0082-4BF8-B598-8462555DE4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1BF24A-C77C-46DD-8E18-46FC473CB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5550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CA174E2-5AAC-4932-8A86-38E6804DAB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551084" y="357856"/>
            <a:ext cx="2576527" cy="5696139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0334FDE-BF31-4B0F-9997-EDFB5C2C04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21501" y="357856"/>
            <a:ext cx="7580219" cy="5696139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6FDCCF8-29A8-4918-94C8-D3CB9CE17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2F0834C-BE90-43D4-9938-4F6FE0ECA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5EE4B8-96B0-4F4F-BAF7-B56C2EB2E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8385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258F2741-9B1A-45E8-8587-9D81603EBDF9}"/>
              </a:ext>
            </a:extLst>
          </p:cNvPr>
          <p:cNvSpPr/>
          <p:nvPr userDrawn="1"/>
        </p:nvSpPr>
        <p:spPr bwMode="auto">
          <a:xfrm>
            <a:off x="8437563" y="0"/>
            <a:ext cx="3511550" cy="67214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r>
              <a:rPr lang="cs-CZ">
                <a:solidFill>
                  <a:schemeClr val="bg1">
                    <a:lumMod val="75000"/>
                  </a:schemeClr>
                </a:solidFill>
                <a:latin typeface="Arial" charset="0"/>
                <a:cs typeface="Arial" charset="0"/>
              </a:rPr>
              <a:t>prostor pro </a:t>
            </a:r>
          </a:p>
          <a:p>
            <a:pPr algn="ctr" defTabSz="895350" eaLnBrk="1" hangingPunct="1">
              <a:buClr>
                <a:schemeClr val="tx2"/>
              </a:buClr>
              <a:defRPr/>
            </a:pPr>
            <a:r>
              <a:rPr lang="cs-CZ">
                <a:solidFill>
                  <a:schemeClr val="bg1">
                    <a:lumMod val="75000"/>
                  </a:schemeClr>
                </a:solidFill>
                <a:latin typeface="Arial" charset="0"/>
                <a:cs typeface="Arial" charset="0"/>
              </a:rPr>
              <a:t>umístění fota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auto">
          <a:xfrm>
            <a:off x="1244600" y="925996"/>
            <a:ext cx="6768024" cy="4614647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4729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FFCC9B9F-3EA3-42BC-8AD2-D26B15D45751}"/>
              </a:ext>
            </a:extLst>
          </p:cNvPr>
          <p:cNvSpPr/>
          <p:nvPr userDrawn="1"/>
        </p:nvSpPr>
        <p:spPr bwMode="auto">
          <a:xfrm>
            <a:off x="0" y="0"/>
            <a:ext cx="11949113" cy="60372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endParaRPr lang="cs-CZ">
              <a:latin typeface="Arial" charset="0"/>
              <a:cs typeface="Arial" charset="0"/>
            </a:endParaRPr>
          </a:p>
          <a:p>
            <a:pPr algn="ctr" defTabSz="895350" eaLnBrk="1" hangingPunct="1">
              <a:buClr>
                <a:schemeClr val="tx2"/>
              </a:buClr>
              <a:defRPr/>
            </a:pPr>
            <a:r>
              <a:rPr lang="cs-CZ">
                <a:solidFill>
                  <a:schemeClr val="bg1">
                    <a:lumMod val="75000"/>
                  </a:schemeClr>
                </a:solidFill>
                <a:latin typeface="Arial" charset="0"/>
                <a:cs typeface="Arial" charset="0"/>
              </a:rPr>
              <a:t>prostor pro umísění fota</a:t>
            </a:r>
          </a:p>
        </p:txBody>
      </p:sp>
      <p:sp>
        <p:nvSpPr>
          <p:cNvPr id="3" name="Subtitle 4"/>
          <p:cNvSpPr>
            <a:spLocks noGrp="1"/>
          </p:cNvSpPr>
          <p:nvPr>
            <p:ph type="subTitle" idx="1"/>
          </p:nvPr>
        </p:nvSpPr>
        <p:spPr bwMode="auto">
          <a:xfrm>
            <a:off x="1244599" y="6125677"/>
            <a:ext cx="9991671" cy="476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2041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/>
          <p:nvPr userDrawn="1"/>
        </p:nvSpPr>
        <p:spPr>
          <a:xfrm>
            <a:off x="0" y="6389689"/>
            <a:ext cx="11949113" cy="331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 defTabSz="8961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800">
              <a:solidFill>
                <a:srgbClr val="FFFFFF"/>
              </a:solidFill>
            </a:endParaRPr>
          </a:p>
        </p:txBody>
      </p:sp>
      <p:sp>
        <p:nvSpPr>
          <p:cNvPr id="5" name="Line 263"/>
          <p:cNvSpPr>
            <a:spLocks noChangeShapeType="1"/>
          </p:cNvSpPr>
          <p:nvPr userDrawn="1"/>
        </p:nvSpPr>
        <p:spPr bwMode="auto">
          <a:xfrm>
            <a:off x="1" y="6389688"/>
            <a:ext cx="11944879" cy="6350"/>
          </a:xfrm>
          <a:prstGeom prst="line">
            <a:avLst/>
          </a:prstGeom>
          <a:noFill/>
          <a:ln w="9525">
            <a:solidFill>
              <a:srgbClr val="9BA0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9611" tIns="44806" rIns="89611" bIns="44806" anchor="ctr"/>
          <a:lstStyle/>
          <a:p>
            <a:endParaRPr lang="cs-CZ" sz="1600"/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10524533" y="6477000"/>
            <a:ext cx="723932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5438" indent="-223838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defTabSz="8961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29658D0-BC8B-498B-9AE3-A75A19E74C07}" type="slidenum">
              <a:rPr lang="en-US" sz="1000" smtClean="0">
                <a:solidFill>
                  <a:srgbClr val="9BA0A5"/>
                </a:solidFill>
              </a:rPr>
              <a:pPr algn="r" defTabSz="89611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9BA0A5"/>
              </a:solidFill>
            </a:endParaRPr>
          </a:p>
        </p:txBody>
      </p:sp>
      <p:pic>
        <p:nvPicPr>
          <p:cNvPr id="7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08865" y="42864"/>
            <a:ext cx="2775072" cy="88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136" y="6496050"/>
            <a:ext cx="3708564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5072" y="2088016"/>
            <a:ext cx="10536054" cy="1440761"/>
          </a:xfrm>
        </p:spPr>
        <p:txBody>
          <a:bodyPr>
            <a:noAutofit/>
          </a:bodyPr>
          <a:lstStyle>
            <a:lvl1pPr>
              <a:defRPr sz="3900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368" y="3808836"/>
            <a:ext cx="8364380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1716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973" y="2231547"/>
            <a:ext cx="10740685" cy="3772663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00" b="1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5280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898" y="4319170"/>
            <a:ext cx="10156746" cy="1334960"/>
          </a:xfrm>
        </p:spPr>
        <p:txBody>
          <a:bodyPr/>
          <a:lstStyle>
            <a:lvl1pPr algn="l">
              <a:defRPr sz="3500" b="1" cap="all">
                <a:latin typeface="Formata Pro Medium" panose="02000603060000020004" pitchFamily="50" charset="-18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3898" y="2848849"/>
            <a:ext cx="10156746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80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6513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8.jpe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1. On-page tracker" hidden="1">
            <a:extLst>
              <a:ext uri="{FF2B5EF4-FFF2-40B4-BE49-F238E27FC236}">
                <a16:creationId xmlns:a16="http://schemas.microsoft.com/office/drawing/2014/main" id="{1D443E92-AFAE-4B54-88DB-26A49008DD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88" y="26988"/>
            <a:ext cx="7858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chemeClr val="accent1"/>
                </a:solidFill>
                <a:latin typeface="Manrope" pitchFamily="2" charset="0"/>
              </a:rPr>
              <a:t>TRACKER</a:t>
            </a:r>
          </a:p>
        </p:txBody>
      </p:sp>
      <p:sp>
        <p:nvSpPr>
          <p:cNvPr id="1032" name="McK 3. Unit of measure" hidden="1">
            <a:extLst>
              <a:ext uri="{FF2B5EF4-FFF2-40B4-BE49-F238E27FC236}">
                <a16:creationId xmlns:a16="http://schemas.microsoft.com/office/drawing/2014/main" id="{460BA482-6238-4FF8-BC7C-3CA67FD0D8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976313"/>
            <a:ext cx="4875213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chemeClr val="accent1"/>
                </a:solidFill>
                <a:latin typeface="Manrope" pitchFamily="2" charset="0"/>
                <a:cs typeface="Arial" charset="0"/>
              </a:rPr>
              <a:t>Unit of measure</a:t>
            </a:r>
          </a:p>
        </p:txBody>
      </p:sp>
      <p:sp>
        <p:nvSpPr>
          <p:cNvPr id="1151" name="McK 4. Footnote" hidden="1">
            <a:extLst>
              <a:ext uri="{FF2B5EF4-FFF2-40B4-BE49-F238E27FC236}">
                <a16:creationId xmlns:a16="http://schemas.microsoft.com/office/drawing/2014/main" id="{09DD364B-26A7-4410-9B49-468B397C62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188" y="6040438"/>
            <a:ext cx="11399837" cy="15398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chemeClr val="accent1"/>
                </a:solidFill>
                <a:latin typeface="Manrope" pitchFamily="2" charset="0"/>
                <a:cs typeface="Arial" charset="0"/>
              </a:rPr>
              <a:t>1 Footnote</a:t>
            </a:r>
          </a:p>
        </p:txBody>
      </p:sp>
      <p:sp>
        <p:nvSpPr>
          <p:cNvPr id="1029" name="McK 5. Source" hidden="1">
            <a:extLst>
              <a:ext uri="{FF2B5EF4-FFF2-40B4-BE49-F238E27FC236}">
                <a16:creationId xmlns:a16="http://schemas.microsoft.com/office/drawing/2014/main" id="{C22C44F1-4B25-4579-A673-488142304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88" y="6230938"/>
            <a:ext cx="9151937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chemeClr val="accent1"/>
                </a:solidFill>
                <a:latin typeface="Manrope" pitchFamily="2" charset="0"/>
              </a:rPr>
              <a:t>SOURCE: Source</a:t>
            </a:r>
          </a:p>
        </p:txBody>
      </p:sp>
      <p:sp>
        <p:nvSpPr>
          <p:cNvPr id="1030" name="Working Draft" hidden="1">
            <a:extLst>
              <a:ext uri="{FF2B5EF4-FFF2-40B4-BE49-F238E27FC236}">
                <a16:creationId xmlns:a16="http://schemas.microsoft.com/office/drawing/2014/main" id="{B79BBC73-90DA-4433-87A4-0C4E621C1BA6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10960101" y="2751137"/>
            <a:ext cx="1790700" cy="92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latin typeface="Manrope" pitchFamily="2" charset="0"/>
              </a:rPr>
              <a:t>Working Draft - Last Modified 11/2/2010 2:49:56 PM</a:t>
            </a:r>
            <a:endParaRPr lang="en-US">
              <a:latin typeface="Manrope" pitchFamily="2" charset="0"/>
            </a:endParaRPr>
          </a:p>
        </p:txBody>
      </p:sp>
      <p:sp>
        <p:nvSpPr>
          <p:cNvPr id="1031" name="Printed" hidden="1">
            <a:extLst>
              <a:ext uri="{FF2B5EF4-FFF2-40B4-BE49-F238E27FC236}">
                <a16:creationId xmlns:a16="http://schemas.microsoft.com/office/drawing/2014/main" id="{4CE34D61-4EB7-4DE7-B32F-700B8C8AE535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11726069" y="3852069"/>
            <a:ext cx="258763" cy="92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latin typeface="Manrope" pitchFamily="2" charset="0"/>
              </a:rPr>
              <a:t>Printed</a:t>
            </a:r>
            <a:endParaRPr lang="en-US">
              <a:latin typeface="Manrope" pitchFamily="2" charset="0"/>
            </a:endParaRPr>
          </a:p>
        </p:txBody>
      </p:sp>
      <p:sp>
        <p:nvSpPr>
          <p:cNvPr id="1037" name="Line 263">
            <a:extLst>
              <a:ext uri="{FF2B5EF4-FFF2-40B4-BE49-F238E27FC236}">
                <a16:creationId xmlns:a16="http://schemas.microsoft.com/office/drawing/2014/main" id="{3A042C6B-527F-405E-9AC5-6DFA0C199F2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491288"/>
            <a:ext cx="11949113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>
              <a:latin typeface="Manrope" pitchFamily="2" charset="0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1B03107A-9793-45CF-889A-0967626D9B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791825" y="6226175"/>
            <a:ext cx="738188" cy="1524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5438" indent="-223838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AF931AA4-6B1A-44C4-91D5-5C949C510101}" type="slidenum">
              <a:rPr lang="en-US" altLang="cs-CZ" sz="1000" smtClean="0">
                <a:solidFill>
                  <a:srgbClr val="B59956"/>
                </a:solidFill>
                <a:latin typeface="Manrope" pitchFamily="2" charset="0"/>
              </a:rPr>
              <a:pPr algn="r" eaLnBrk="1" hangingPunct="1">
                <a:defRPr/>
              </a:pPr>
              <a:t>‹#›</a:t>
            </a:fld>
            <a:endParaRPr lang="en-US" altLang="cs-CZ" sz="1000">
              <a:solidFill>
                <a:srgbClr val="B59956"/>
              </a:solidFill>
              <a:latin typeface="Manrope" pitchFamily="2" charset="0"/>
            </a:endParaRPr>
          </a:p>
        </p:txBody>
      </p:sp>
      <p:pic>
        <p:nvPicPr>
          <p:cNvPr id="1034" name="Picture 18">
            <a:extLst>
              <a:ext uri="{FF2B5EF4-FFF2-40B4-BE49-F238E27FC236}">
                <a16:creationId xmlns:a16="http://schemas.microsoft.com/office/drawing/2014/main" id="{E513E7F7-2124-42AE-9D3A-81640D4F81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575" y="6562725"/>
            <a:ext cx="23272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">
            <a:extLst>
              <a:ext uri="{FF2B5EF4-FFF2-40B4-BE49-F238E27FC236}">
                <a16:creationId xmlns:a16="http://schemas.microsoft.com/office/drawing/2014/main" id="{44F77E9E-1D86-4797-AA79-74A0100DC1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149725"/>
            <a:ext cx="11949113" cy="2571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/>
          <a:lstStyle>
            <a:lvl1pPr defTabSz="895350">
              <a:lnSpc>
                <a:spcPct val="110000"/>
              </a:lnSpc>
              <a:buClr>
                <a:schemeClr val="tx2"/>
              </a:buClr>
              <a:defRPr sz="22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1pPr>
            <a:lvl2pPr marL="742950" indent="-285750" defTabSz="895350">
              <a:lnSpc>
                <a:spcPct val="110000"/>
              </a:lnSpc>
              <a:buClr>
                <a:schemeClr val="accent1"/>
              </a:buClr>
              <a:buSzPct val="140000"/>
              <a:buFont typeface="Arial" panose="020B0604020202020204" pitchFamily="34" charset="0"/>
              <a:buChar char="▪"/>
              <a:defRPr sz="20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2pPr>
            <a:lvl3pPr marL="1143000" indent="-228600" defTabSz="895350">
              <a:lnSpc>
                <a:spcPct val="110000"/>
              </a:lnSpc>
              <a:buClr>
                <a:schemeClr val="accent1"/>
              </a:buClr>
              <a:buSzPct val="120000"/>
              <a:buFont typeface="Arial" panose="020B0604020202020204" pitchFamily="34" charset="0"/>
              <a:buChar char="▪"/>
              <a:defRPr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3pPr>
            <a:lvl4pPr marL="1600200" indent="-228600" defTabSz="89535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4pPr>
            <a:lvl5pPr marL="2057400" indent="-228600" defTabSz="895350">
              <a:lnSpc>
                <a:spcPct val="110000"/>
              </a:lnSpc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9000"/>
              <a:buFont typeface="Arial" panose="020B0604020202020204" pitchFamily="34" charset="0"/>
              <a:buChar char="▪"/>
              <a:defRPr sz="1400">
                <a:solidFill>
                  <a:schemeClr val="tx1"/>
                </a:solidFill>
                <a:latin typeface="Manrope" pitchFamily="2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defRPr/>
            </a:pPr>
            <a:endParaRPr lang="cs-CZ" altLang="cs-CZ" sz="1600">
              <a:latin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1" r:id="rId1"/>
    <p:sldLayoutId id="2147484552" r:id="rId2"/>
    <p:sldLayoutId id="2147484550" r:id="rId3"/>
    <p:sldLayoutId id="2147484553" r:id="rId4"/>
    <p:sldLayoutId id="2147484554" r:id="rId5"/>
    <p:sldLayoutId id="2147484555" r:id="rId6"/>
  </p:sldLayoutIdLst>
  <p:hf sldNum="0"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Manrope" pitchFamily="2" charset="0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Manrope" pitchFamily="2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Manrope" pitchFamily="2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Manrope" pitchFamily="2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Manrope" pitchFamily="2" charset="0"/>
        </a:defRPr>
      </a:lvl5pPr>
      <a:lvl6pPr marL="457338" algn="l" defTabSz="895620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6pPr>
      <a:lvl7pPr marL="914676" algn="l" defTabSz="895620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7pPr>
      <a:lvl8pPr marL="1372013" algn="l" defTabSz="895620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8pPr>
      <a:lvl9pPr marL="1829350" algn="l" defTabSz="895620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9pPr>
    </p:titleStyle>
    <p:bodyStyle>
      <a:lvl1pPr marL="342900" indent="-342900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Manrope" pitchFamily="2" charset="0"/>
          <a:ea typeface="+mn-ea"/>
          <a:cs typeface="+mn-cs"/>
        </a:defRPr>
      </a:lvl1pPr>
      <a:lvl2pPr marL="193675" indent="-192088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40000"/>
        <a:buFont typeface="Arial" panose="020B0604020202020204" pitchFamily="34" charset="0"/>
        <a:buChar char="▪"/>
        <a:defRPr sz="2000">
          <a:solidFill>
            <a:schemeClr val="tx1"/>
          </a:solidFill>
          <a:latin typeface="Manrope" pitchFamily="2" charset="0"/>
          <a:cs typeface="+mn-cs"/>
        </a:defRPr>
      </a:lvl2pPr>
      <a:lvl3pPr marL="457200" indent="-261938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▪"/>
        <a:defRPr>
          <a:solidFill>
            <a:schemeClr val="tx1"/>
          </a:solidFill>
          <a:latin typeface="Manrope" pitchFamily="2" charset="0"/>
          <a:cs typeface="+mn-cs"/>
        </a:defRPr>
      </a:lvl3pPr>
      <a:lvl4pPr marL="614363" indent="-155575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▪"/>
        <a:defRPr sz="1600">
          <a:solidFill>
            <a:schemeClr val="tx1"/>
          </a:solidFill>
          <a:latin typeface="Manrope" pitchFamily="2" charset="0"/>
          <a:cs typeface="+mn-cs"/>
        </a:defRPr>
      </a:lvl4pPr>
      <a:lvl5pPr marL="746125" indent="-130175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▪"/>
        <a:defRPr sz="1400">
          <a:solidFill>
            <a:schemeClr val="tx1"/>
          </a:solidFill>
          <a:latin typeface="Manrope" pitchFamily="2" charset="0"/>
          <a:cs typeface="+mn-cs"/>
        </a:defRPr>
      </a:lvl5pPr>
      <a:lvl6pPr marL="1203686" indent="-130211" algn="l" defTabSz="895620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6pPr>
      <a:lvl7pPr marL="1661023" indent="-130211" algn="l" defTabSz="895620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7pPr>
      <a:lvl8pPr marL="2118361" indent="-130211" algn="l" defTabSz="895620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8pPr>
      <a:lvl9pPr marL="2575699" indent="-130211" algn="l" defTabSz="895620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338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676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013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350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684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4027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360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698" algn="l" defTabSz="914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389689"/>
            <a:ext cx="11949113" cy="3317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 defTabSz="8961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800">
              <a:solidFill>
                <a:srgbClr val="FFFFFF"/>
              </a:solidFill>
            </a:endParaRP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96927" y="1173163"/>
            <a:ext cx="1075526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iknutím lze upravit styl.</a:t>
            </a:r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1745" y="2373313"/>
            <a:ext cx="10740442" cy="363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iknutím lze upravit styly předloh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94394" y="6389689"/>
            <a:ext cx="3784768" cy="358775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ctr" defTabSz="896112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9BA0A5"/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078" name="Line 263"/>
          <p:cNvSpPr>
            <a:spLocks noChangeShapeType="1"/>
          </p:cNvSpPr>
          <p:nvPr userDrawn="1"/>
        </p:nvSpPr>
        <p:spPr bwMode="auto">
          <a:xfrm>
            <a:off x="-12700" y="6389688"/>
            <a:ext cx="13138732" cy="6350"/>
          </a:xfrm>
          <a:prstGeom prst="line">
            <a:avLst/>
          </a:prstGeom>
          <a:noFill/>
          <a:ln w="9525">
            <a:solidFill>
              <a:srgbClr val="9BA0A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9611" tIns="44806" rIns="89611" bIns="44806" anchor="ctr"/>
          <a:lstStyle/>
          <a:p>
            <a:endParaRPr lang="cs-CZ" sz="1600"/>
          </a:p>
        </p:txBody>
      </p:sp>
      <p:sp>
        <p:nvSpPr>
          <p:cNvPr id="14" name="Rectangle 7"/>
          <p:cNvSpPr>
            <a:spLocks noChangeArrowheads="1"/>
          </p:cNvSpPr>
          <p:nvPr userDrawn="1"/>
        </p:nvSpPr>
        <p:spPr bwMode="auto">
          <a:xfrm>
            <a:off x="10524533" y="6477000"/>
            <a:ext cx="723932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5438" indent="-223838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defTabSz="8961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858A18E-427A-4900-957A-09F9B1A3AD88}" type="slidenum">
              <a:rPr lang="en-US" sz="1000" smtClean="0">
                <a:solidFill>
                  <a:srgbClr val="9BA0A5"/>
                </a:solidFill>
              </a:rPr>
              <a:pPr algn="r" defTabSz="89611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9BA0A5"/>
              </a:solidFill>
            </a:endParaRPr>
          </a:p>
        </p:txBody>
      </p:sp>
      <p:pic>
        <p:nvPicPr>
          <p:cNvPr id="3080" name="Picture 11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136" y="6496050"/>
            <a:ext cx="3708564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12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9225" y="42864"/>
            <a:ext cx="1954711" cy="712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8090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</p:sldLayoutIdLst>
  <p:txStyles>
    <p:titleStyle>
      <a:lvl1pPr algn="ctr" defTabSz="895350" rtl="0" fontAlgn="base">
        <a:spcBef>
          <a:spcPct val="0"/>
        </a:spcBef>
        <a:spcAft>
          <a:spcPct val="0"/>
        </a:spcAft>
        <a:defRPr sz="3500" kern="1200">
          <a:solidFill>
            <a:srgbClr val="9F8852"/>
          </a:solidFill>
          <a:latin typeface="Formata Pro Medium" panose="02000603060000020004" pitchFamily="50" charset="-18"/>
          <a:ea typeface="+mj-ea"/>
          <a:cs typeface="+mj-cs"/>
        </a:defRPr>
      </a:lvl1pPr>
      <a:lvl2pPr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2pPr>
      <a:lvl3pPr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3pPr>
      <a:lvl4pPr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4pPr>
      <a:lvl5pPr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5pPr>
      <a:lvl6pPr marL="457200"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6pPr>
      <a:lvl7pPr marL="914400"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7pPr>
      <a:lvl8pPr marL="1371600"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8pPr>
      <a:lvl9pPr marL="1828800" algn="ctr" defTabSz="895350" rtl="0" fontAlgn="base">
        <a:spcBef>
          <a:spcPct val="0"/>
        </a:spcBef>
        <a:spcAft>
          <a:spcPct val="0"/>
        </a:spcAft>
        <a:defRPr sz="3500">
          <a:solidFill>
            <a:srgbClr val="9F8852"/>
          </a:solidFill>
          <a:latin typeface="Formata Pro Medium" pitchFamily="50" charset="-18"/>
        </a:defRPr>
      </a:lvl9pPr>
    </p:titleStyle>
    <p:bodyStyle>
      <a:lvl1pPr marL="334963" indent="-334963" algn="l" defTabSz="895350" rtl="0" fontAlgn="base">
        <a:spcBef>
          <a:spcPct val="20000"/>
        </a:spcBef>
        <a:spcAft>
          <a:spcPct val="0"/>
        </a:spcAft>
        <a:buClr>
          <a:srgbClr val="9F8852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27075" indent="-279400" algn="l" defTabSz="895350" rtl="0" fontAlgn="base">
        <a:spcBef>
          <a:spcPct val="20000"/>
        </a:spcBef>
        <a:spcAft>
          <a:spcPct val="0"/>
        </a:spcAft>
        <a:buClr>
          <a:srgbClr val="9F8852"/>
        </a:buClr>
        <a:buFont typeface="Arial" charset="0"/>
        <a:buChar char="̶"/>
        <a:defRPr sz="2000" kern="1200">
          <a:solidFill>
            <a:srgbClr val="9F8852"/>
          </a:solidFill>
          <a:latin typeface="+mn-lt"/>
          <a:ea typeface="+mn-ea"/>
          <a:cs typeface="+mn-cs"/>
        </a:defRPr>
      </a:lvl2pPr>
      <a:lvl3pPr marL="1119188" indent="-223838" algn="l" defTabSz="895350" rtl="0" fontAlgn="base">
        <a:spcBef>
          <a:spcPct val="20000"/>
        </a:spcBef>
        <a:spcAft>
          <a:spcPct val="0"/>
        </a:spcAft>
        <a:buFont typeface="Arial" charset="0"/>
        <a:buChar char="̶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66863" indent="-223838" algn="l" defTabSz="895350" rtl="0" fontAlgn="base">
        <a:spcBef>
          <a:spcPct val="20000"/>
        </a:spcBef>
        <a:spcAft>
          <a:spcPct val="0"/>
        </a:spcAft>
        <a:buClr>
          <a:srgbClr val="9F8852"/>
        </a:buClr>
        <a:buFont typeface="Arial" charset="0"/>
        <a:buChar char="̶"/>
        <a:defRPr sz="1600" kern="1200">
          <a:solidFill>
            <a:srgbClr val="9F8852"/>
          </a:solidFill>
          <a:latin typeface="+mn-lt"/>
          <a:ea typeface="+mn-ea"/>
          <a:cs typeface="+mn-cs"/>
        </a:defRPr>
      </a:lvl4pPr>
      <a:lvl5pPr marL="2016125" indent="-223838" algn="l" defTabSz="895350" rtl="0" fontAlgn="base">
        <a:spcBef>
          <a:spcPct val="20000"/>
        </a:spcBef>
        <a:spcAft>
          <a:spcPct val="0"/>
        </a:spcAft>
        <a:buFont typeface="Arial" charset="0"/>
        <a:buChar char="̶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308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1. On-page tracker" hidden="1"/>
          <p:cNvSpPr>
            <a:spLocks noChangeArrowheads="1"/>
          </p:cNvSpPr>
          <p:nvPr/>
        </p:nvSpPr>
        <p:spPr bwMode="auto">
          <a:xfrm>
            <a:off x="230728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chemeClr val="accent1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228611" y="976313"/>
            <a:ext cx="48749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chemeClr val="accent1"/>
                </a:solidFill>
              </a:rPr>
              <a:t>Unit of measure</a:t>
            </a:r>
          </a:p>
        </p:txBody>
      </p:sp>
      <p:sp>
        <p:nvSpPr>
          <p:cNvPr id="1151" name="McK 4. Footnote" hidden="1"/>
          <p:cNvSpPr txBox="1">
            <a:spLocks noChangeArrowheads="1"/>
          </p:cNvSpPr>
          <p:nvPr/>
        </p:nvSpPr>
        <p:spPr bwMode="auto">
          <a:xfrm>
            <a:off x="230728" y="6040439"/>
            <a:ext cx="11398754" cy="15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algn="l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algn="l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algn="l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algn="l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chemeClr val="accent1"/>
                </a:solidFill>
              </a:rPr>
              <a:t>1 Footnote</a:t>
            </a:r>
          </a:p>
        </p:txBody>
      </p:sp>
      <p:sp>
        <p:nvSpPr>
          <p:cNvPr id="1029" name="McK 5. Source" hidden="1"/>
          <p:cNvSpPr>
            <a:spLocks noChangeArrowheads="1"/>
          </p:cNvSpPr>
          <p:nvPr/>
        </p:nvSpPr>
        <p:spPr bwMode="auto">
          <a:xfrm>
            <a:off x="230728" y="6230938"/>
            <a:ext cx="915075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chemeClr val="accent1"/>
                </a:solidFill>
              </a:rPr>
              <a:t>SOURCE: Source</a:t>
            </a:r>
          </a:p>
        </p:txBody>
      </p:sp>
      <p:sp>
        <p:nvSpPr>
          <p:cNvPr id="1030" name="Working Draft" hidden="1"/>
          <p:cNvSpPr txBox="1">
            <a:spLocks noChangeArrowheads="1"/>
          </p:cNvSpPr>
          <p:nvPr/>
        </p:nvSpPr>
        <p:spPr bwMode="auto">
          <a:xfrm rot="5400000">
            <a:off x="10966310" y="2751008"/>
            <a:ext cx="17793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/>
              <a:t>Working Draft - Last Modified 11/2/2010 2:49:56 PM</a:t>
            </a:r>
            <a:endParaRPr lang="en-US" sz="1600"/>
          </a:p>
        </p:txBody>
      </p:sp>
      <p:sp>
        <p:nvSpPr>
          <p:cNvPr id="1031" name="Printed" hidden="1"/>
          <p:cNvSpPr txBox="1">
            <a:spLocks noChangeArrowheads="1"/>
          </p:cNvSpPr>
          <p:nvPr/>
        </p:nvSpPr>
        <p:spPr bwMode="auto">
          <a:xfrm rot="5400000">
            <a:off x="11733345" y="3851940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/>
              <a:t>Printed</a:t>
            </a:r>
            <a:endParaRPr lang="en-US" sz="1600"/>
          </a:p>
        </p:txBody>
      </p:sp>
      <p:sp>
        <p:nvSpPr>
          <p:cNvPr id="205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70569" y="576263"/>
            <a:ext cx="8016171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cs-CZ"/>
              <a:t>Click to edit Headlines.</a:t>
            </a:r>
          </a:p>
        </p:txBody>
      </p:sp>
      <p:sp>
        <p:nvSpPr>
          <p:cNvPr id="4301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544686" y="6243639"/>
            <a:ext cx="2857627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 algn="l" eaLnBrk="1" hangingPunct="1">
              <a:buClrTx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Senior Leadership Forum</a:t>
            </a:r>
          </a:p>
        </p:txBody>
      </p:sp>
      <p:sp>
        <p:nvSpPr>
          <p:cNvPr id="2058" name="Rectangle 3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36702" y="1462088"/>
            <a:ext cx="9603741" cy="152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cs-CZ"/>
              <a:t>Click to 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pic>
        <p:nvPicPr>
          <p:cNvPr id="2059" name="Picture 322" descr="X:\Práce\plzeňský prazdroj\ostatni\PPAS_externi\sablony\jpg do sablon\150 dpi\pecet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1546" y="381001"/>
            <a:ext cx="1231955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Line 263"/>
          <p:cNvSpPr>
            <a:spLocks noChangeShapeType="1"/>
          </p:cNvSpPr>
          <p:nvPr userDrawn="1"/>
        </p:nvSpPr>
        <p:spPr bwMode="auto">
          <a:xfrm>
            <a:off x="0" y="6491288"/>
            <a:ext cx="11949113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cs-CZ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10791244" y="6226175"/>
            <a:ext cx="7387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5438" indent="-223838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5BD5EC43-4B46-4EE7-9BAB-E2B827A8F2B3}" type="slidenum">
              <a:rPr lang="en-US" altLang="cs-CZ" sz="1000" smtClean="0">
                <a:solidFill>
                  <a:srgbClr val="B59956"/>
                </a:solidFill>
              </a:rPr>
              <a:pPr algn="r" eaLnBrk="1" hangingPunct="1">
                <a:defRPr/>
              </a:pPr>
              <a:t>‹#›</a:t>
            </a:fld>
            <a:endParaRPr lang="en-US" altLang="cs-CZ" sz="1000">
              <a:solidFill>
                <a:srgbClr val="B59956"/>
              </a:solidFill>
            </a:endParaRPr>
          </a:p>
        </p:txBody>
      </p:sp>
      <p:pic>
        <p:nvPicPr>
          <p:cNvPr id="2062" name="Picture 18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3635" y="6562725"/>
            <a:ext cx="2419456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693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3" r:id="rId1"/>
    <p:sldLayoutId id="2147484614" r:id="rId2"/>
    <p:sldLayoutId id="2147484615" r:id="rId3"/>
    <p:sldLayoutId id="2147484616" r:id="rId4"/>
    <p:sldLayoutId id="2147484617" r:id="rId5"/>
    <p:sldLayoutId id="2147484618" r:id="rId6"/>
    <p:sldLayoutId id="2147484619" r:id="rId7"/>
    <p:sldLayoutId id="2147484620" r:id="rId8"/>
    <p:sldLayoutId id="2147484621" r:id="rId9"/>
    <p:sldLayoutId id="2147484622" r:id="rId10"/>
    <p:sldLayoutId id="2147484623" r:id="rId11"/>
    <p:sldLayoutId id="2147484624" r:id="rId12"/>
  </p:sldLayoutIdLst>
  <p:hf sldNum="0"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ormata Pro Regular" panose="02000503060000020004" pitchFamily="50" charset="-18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ormata Pro Regular" panose="02000503060000020004" pitchFamily="50" charset="-18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ormata Pro Regular" panose="02000503060000020004" pitchFamily="50" charset="-18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ormata Pro Regular" panose="02000503060000020004" pitchFamily="50" charset="-18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ormata Pro Regular" panose="02000503060000020004" pitchFamily="50" charset="-18"/>
        </a:defRPr>
      </a:lvl5pPr>
      <a:lvl6pPr marL="457315" algn="l" defTabSz="895575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6pPr>
      <a:lvl7pPr marL="914630" algn="l" defTabSz="895575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7pPr>
      <a:lvl8pPr marL="1371944" algn="l" defTabSz="895575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8pPr>
      <a:lvl9pPr marL="1829258" algn="l" defTabSz="895575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SABMiller Headline" pitchFamily="2" charset="-18"/>
        </a:defRPr>
      </a:lvl9pPr>
    </p:titleStyle>
    <p:bodyStyle>
      <a:lvl1pPr marL="342900" indent="-342900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40000"/>
        <a:buFont typeface="Arial" charset="0"/>
        <a:buChar char="▪"/>
        <a:defRPr sz="20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charset="0"/>
        <a:buChar char="▪"/>
        <a:defRPr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5pPr>
      <a:lvl6pPr marL="1203626" indent="-130205" algn="l" defTabSz="895575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6pPr>
      <a:lvl7pPr marL="1660940" indent="-130205" algn="l" defTabSz="895575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7pPr>
      <a:lvl8pPr marL="2118255" indent="-130205" algn="l" defTabSz="895575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8pPr>
      <a:lvl9pPr marL="2575570" indent="-130205" algn="l" defTabSz="895575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charset="0"/>
        <a:buChar char="▪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315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630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944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258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570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889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200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515" algn="l" defTabSz="9146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B7A687A7-4983-490C-93AE-842294448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502" y="357857"/>
            <a:ext cx="1030611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9EF904B-5633-44CB-99BD-476ADABA57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1502" y="1789282"/>
            <a:ext cx="1030611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E5F96E5-C2DF-438F-9C93-30B94BA0D7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1502" y="6229812"/>
            <a:ext cx="2688550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53E725-7F7C-4A03-A130-A699600FA4B3}" type="datetimeFigureOut">
              <a:rPr lang="cs-CZ" smtClean="0"/>
              <a:t>14.10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2593C8-BD8C-484B-BE92-D0D8FDE8AD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8144" y="6229812"/>
            <a:ext cx="4032826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C829E63-966D-4E60-A5DD-33A7576798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39061" y="6229812"/>
            <a:ext cx="2688550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ECDCDE-0BB9-4CB3-AE2A-FC69778CAE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904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</p:sldLayoutIdLst>
  <p:txStyles>
    <p:titleStyle>
      <a:lvl1pPr algn="l" defTabSz="896203" rtl="0" eaLnBrk="1" latinLnBrk="0" hangingPunct="1">
        <a:lnSpc>
          <a:spcPct val="90000"/>
        </a:lnSpc>
        <a:spcBef>
          <a:spcPct val="0"/>
        </a:spcBef>
        <a:buNone/>
        <a:defRPr sz="43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4051" indent="-224051" algn="l" defTabSz="89620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744" kern="1200">
          <a:solidFill>
            <a:schemeClr val="tx1"/>
          </a:solidFill>
          <a:latin typeface="+mn-lt"/>
          <a:ea typeface="+mn-ea"/>
          <a:cs typeface="+mn-cs"/>
        </a:defRPr>
      </a:lvl1pPr>
      <a:lvl2pPr marL="672153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352" kern="1200">
          <a:solidFill>
            <a:schemeClr val="tx1"/>
          </a:solidFill>
          <a:latin typeface="+mn-lt"/>
          <a:ea typeface="+mn-ea"/>
          <a:cs typeface="+mn-cs"/>
        </a:defRPr>
      </a:lvl2pPr>
      <a:lvl3pPr marL="1120254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3pPr>
      <a:lvl4pPr marL="1568356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2016458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464559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912661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360763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808865" indent="-224051" algn="l" defTabSz="8962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otrelova@asahibeer.cz" TargetMode="External"/><Relationship Id="rId2" Type="http://schemas.openxmlformats.org/officeDocument/2006/relationships/hyperlink" Target="mailto:michal.dubravsky@asahibeer.cz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microsoft.com/office/2007/relationships/hdphoto" Target="../media/hdphoto1.wdp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le 3">
            <a:extLst>
              <a:ext uri="{FF2B5EF4-FFF2-40B4-BE49-F238E27FC236}">
                <a16:creationId xmlns:a16="http://schemas.microsoft.com/office/drawing/2014/main" id="{4CF55195-4834-4F83-9C25-37C368083E79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1244600" y="4781550"/>
            <a:ext cx="9639300" cy="492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cs-CZ" altLang="cs-CZ" sz="4800" dirty="0"/>
              <a:t>MVŠO zadání event marketing</a:t>
            </a:r>
          </a:p>
        </p:txBody>
      </p:sp>
      <p:sp>
        <p:nvSpPr>
          <p:cNvPr id="8196" name="Subtitle 4">
            <a:extLst>
              <a:ext uri="{FF2B5EF4-FFF2-40B4-BE49-F238E27FC236}">
                <a16:creationId xmlns:a16="http://schemas.microsoft.com/office/drawing/2014/main" id="{2AE7EA23-2D7C-4980-A565-F7192D4FE1CF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cs-CZ" altLang="cs-CZ" dirty="0"/>
              <a:t>Olomouc 14. 10. 2021</a:t>
            </a:r>
          </a:p>
        </p:txBody>
      </p:sp>
      <p:pic>
        <p:nvPicPr>
          <p:cNvPr id="8198" name="Picture 1">
            <a:extLst>
              <a:ext uri="{FF2B5EF4-FFF2-40B4-BE49-F238E27FC236}">
                <a16:creationId xmlns:a16="http://schemas.microsoft.com/office/drawing/2014/main" id="{8A73B879-D2ED-49E9-8132-8AAFDF9894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025" y="3321050"/>
            <a:ext cx="2181225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9" name="Rectangle 8">
            <a:extLst>
              <a:ext uri="{FF2B5EF4-FFF2-40B4-BE49-F238E27FC236}">
                <a16:creationId xmlns:a16="http://schemas.microsoft.com/office/drawing/2014/main" id="{0C286D1E-6B87-4BE5-B5C8-A4EFAC067D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2050" y="4095750"/>
            <a:ext cx="8321675" cy="76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endParaRPr lang="cs-CZ" altLang="cs-CZ"/>
          </a:p>
        </p:txBody>
      </p:sp>
      <p:pic>
        <p:nvPicPr>
          <p:cNvPr id="8200" name="Picture 13">
            <a:extLst>
              <a:ext uri="{FF2B5EF4-FFF2-40B4-BE49-F238E27FC236}">
                <a16:creationId xmlns:a16="http://schemas.microsoft.com/office/drawing/2014/main" id="{0D27C914-3B9A-4922-AE69-E6407E4DE0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88" y="3082925"/>
            <a:ext cx="3502025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Rectangle 8">
            <a:extLst>
              <a:ext uri="{FF2B5EF4-FFF2-40B4-BE49-F238E27FC236}">
                <a16:creationId xmlns:a16="http://schemas.microsoft.com/office/drawing/2014/main" id="{48BF553C-084C-4A08-8B2C-49D5AC64B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7142163" y="5545138"/>
            <a:ext cx="8321676" cy="76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endParaRPr lang="cs-CZ" altLang="cs-CZ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1952047" y="2382376"/>
            <a:ext cx="8055157" cy="3772663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cs-CZ" b="1" dirty="0"/>
              <a:t>Zadání projektu				14. 10. 2021</a:t>
            </a:r>
          </a:p>
          <a:p>
            <a:pPr>
              <a:lnSpc>
                <a:spcPct val="200000"/>
              </a:lnSpc>
            </a:pPr>
            <a:r>
              <a:rPr lang="cs-CZ" b="1" dirty="0" err="1"/>
              <a:t>Midterm</a:t>
            </a:r>
            <a:r>
              <a:rPr lang="cs-CZ" b="1" dirty="0"/>
              <a:t> </a:t>
            </a:r>
            <a:r>
              <a:rPr lang="cs-CZ" b="1" dirty="0" err="1"/>
              <a:t>check</a:t>
            </a:r>
            <a:r>
              <a:rPr lang="cs-CZ" b="1" dirty="0"/>
              <a:t>				18. 11. 2021</a:t>
            </a:r>
          </a:p>
          <a:p>
            <a:pPr>
              <a:lnSpc>
                <a:spcPct val="200000"/>
              </a:lnSpc>
            </a:pPr>
            <a:r>
              <a:rPr lang="cs-CZ" b="1" dirty="0"/>
              <a:t>Vyhodnocení a následná večeře		16. 12. 2021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Check</a:t>
            </a:r>
            <a:r>
              <a:rPr lang="cs-CZ" dirty="0"/>
              <a:t> up a vyhodnocení</a:t>
            </a:r>
          </a:p>
        </p:txBody>
      </p:sp>
    </p:spTree>
    <p:extLst>
      <p:ext uri="{BB962C8B-B14F-4D97-AF65-F5344CB8AC3E}">
        <p14:creationId xmlns:p14="http://schemas.microsoft.com/office/powerpoint/2010/main" val="16902903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1952047" y="2382376"/>
            <a:ext cx="8055157" cy="3772663"/>
          </a:xfrm>
        </p:spPr>
        <p:txBody>
          <a:bodyPr/>
          <a:lstStyle/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cs-CZ" b="1" dirty="0"/>
              <a:t>Naplnění zadání a kvalita navrženého řešení 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cs-CZ" b="1" dirty="0"/>
              <a:t>Finální prezentace řešení 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cs-CZ" b="1" dirty="0"/>
              <a:t>Přístup k řešení projektu 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Jak budeme projekt hodnotit</a:t>
            </a:r>
          </a:p>
        </p:txBody>
      </p:sp>
    </p:spTree>
    <p:extLst>
      <p:ext uri="{BB962C8B-B14F-4D97-AF65-F5344CB8AC3E}">
        <p14:creationId xmlns:p14="http://schemas.microsoft.com/office/powerpoint/2010/main" val="1347468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3583EC2E-22C8-4C8A-B99B-FAE63C003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909" y="1101525"/>
            <a:ext cx="8065294" cy="837948"/>
          </a:xfrm>
        </p:spPr>
        <p:txBody>
          <a:bodyPr wrap="square" anchor="t">
            <a:normAutofit/>
          </a:bodyPr>
          <a:lstStyle/>
          <a:p>
            <a:r>
              <a:rPr lang="cs-CZ"/>
              <a:t>Výhra pro vítězný tým</a:t>
            </a:r>
            <a:endParaRPr lang="cs-CZ" dirty="0"/>
          </a:p>
        </p:txBody>
      </p:sp>
      <p:pic>
        <p:nvPicPr>
          <p:cNvPr id="4" name="Obrázek 5" descr="Obsah obrázku text&#10;&#10;Popis se vygeneroval automaticky.">
            <a:extLst>
              <a:ext uri="{FF2B5EF4-FFF2-40B4-BE49-F238E27FC236}">
                <a16:creationId xmlns:a16="http://schemas.microsoft.com/office/drawing/2014/main" id="{EFF1563B-BCD8-428D-80B0-FF3B0AC43AB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888016" y="4678303"/>
            <a:ext cx="6168743" cy="1169308"/>
          </a:xfrm>
        </p:spPr>
      </p:pic>
      <p:sp>
        <p:nvSpPr>
          <p:cNvPr id="5" name="Zástupný obsah 6">
            <a:extLst>
              <a:ext uri="{FF2B5EF4-FFF2-40B4-BE49-F238E27FC236}">
                <a16:creationId xmlns:a16="http://schemas.microsoft.com/office/drawing/2014/main" id="{2E2E3731-8634-4049-8ADD-321073CD7E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41479" y="2401032"/>
            <a:ext cx="7069034" cy="398438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3600" b="1" dirty="0">
                <a:cs typeface="Calibri"/>
              </a:rPr>
              <a:t>Voucher v hodnotě </a:t>
            </a:r>
          </a:p>
          <a:p>
            <a:pPr marL="0" indent="0" algn="ctr">
              <a:buNone/>
            </a:pPr>
            <a:r>
              <a:rPr lang="cs-CZ" sz="3600" b="1" dirty="0">
                <a:cs typeface="Calibri"/>
              </a:rPr>
              <a:t>500 Kč/osoba </a:t>
            </a:r>
          </a:p>
          <a:p>
            <a:pPr marL="0" indent="0" algn="ctr">
              <a:buNone/>
            </a:pPr>
            <a:r>
              <a:rPr lang="cs-CZ" sz="3600" b="1" dirty="0">
                <a:cs typeface="Calibri"/>
              </a:rPr>
              <a:t>do</a:t>
            </a:r>
          </a:p>
        </p:txBody>
      </p:sp>
    </p:spTree>
    <p:extLst>
      <p:ext uri="{BB962C8B-B14F-4D97-AF65-F5344CB8AC3E}">
        <p14:creationId xmlns:p14="http://schemas.microsoft.com/office/powerpoint/2010/main" val="10799116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1952047" y="1065230"/>
            <a:ext cx="8055157" cy="4938980"/>
          </a:xfrm>
        </p:spPr>
        <p:txBody>
          <a:bodyPr/>
          <a:lstStyle/>
          <a:p>
            <a:pPr marL="0" indent="0">
              <a:buNone/>
            </a:pPr>
            <a:endParaRPr lang="cs-CZ" b="1" i="1" dirty="0"/>
          </a:p>
          <a:p>
            <a:pPr marL="0" indent="0">
              <a:buNone/>
            </a:pPr>
            <a:endParaRPr lang="cs-CZ" b="1" i="1" dirty="0"/>
          </a:p>
          <a:p>
            <a:pPr marL="0" indent="0">
              <a:buNone/>
            </a:pPr>
            <a:endParaRPr lang="cs-CZ" b="1" i="1" dirty="0"/>
          </a:p>
          <a:p>
            <a:pPr marL="0" indent="0">
              <a:buNone/>
            </a:pPr>
            <a:endParaRPr lang="cs-CZ" b="1" i="1" dirty="0"/>
          </a:p>
          <a:p>
            <a:pPr marL="0" indent="0">
              <a:buNone/>
            </a:pPr>
            <a:endParaRPr lang="cs-CZ" b="1" i="1" dirty="0"/>
          </a:p>
          <a:p>
            <a:pPr marL="0" indent="0">
              <a:buNone/>
            </a:pPr>
            <a:endParaRPr lang="cs-CZ" b="1" i="1" dirty="0"/>
          </a:p>
          <a:p>
            <a:pPr marL="0" indent="0" algn="ctr">
              <a:buNone/>
            </a:pPr>
            <a:endParaRPr lang="cs-CZ" b="1" i="1" dirty="0">
              <a:hlinkClick r:id="rId2"/>
            </a:endParaRPr>
          </a:p>
          <a:p>
            <a:pPr marL="0" indent="0">
              <a:buNone/>
            </a:pPr>
            <a:endParaRPr lang="cs-CZ" b="1" i="1" dirty="0">
              <a:hlinkClick r:id="rId2"/>
            </a:endParaRPr>
          </a:p>
          <a:p>
            <a:pPr marL="0" indent="0">
              <a:buNone/>
            </a:pPr>
            <a:endParaRPr lang="cs-CZ" b="1" i="1" dirty="0">
              <a:hlinkClick r:id="rId2"/>
            </a:endParaRPr>
          </a:p>
          <a:p>
            <a:pPr marL="0" indent="0" algn="ctr">
              <a:buNone/>
            </a:pPr>
            <a:r>
              <a:rPr lang="cs-CZ" b="1" i="1" dirty="0">
                <a:hlinkClick r:id="rId3"/>
              </a:rPr>
              <a:t>eva.wotrelova@asahibeer.cz</a:t>
            </a:r>
            <a:r>
              <a:rPr lang="cs-CZ" b="1" i="1" dirty="0"/>
              <a:t> </a:t>
            </a:r>
            <a:endParaRPr lang="cs-CZ" dirty="0"/>
          </a:p>
        </p:txBody>
      </p:sp>
      <p:pic>
        <p:nvPicPr>
          <p:cNvPr id="4" name="Obrázek 3" descr="Obsah obrázku osoba, exteriér, obloha, usmívající se&#10;&#10;Popis byl vytvořen automaticky">
            <a:extLst>
              <a:ext uri="{FF2B5EF4-FFF2-40B4-BE49-F238E27FC236}">
                <a16:creationId xmlns:a16="http://schemas.microsoft.com/office/drawing/2014/main" id="{2F75CAD5-6DBB-47DF-AAD3-46DF28C2877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445"/>
          <a:stretch/>
        </p:blipFill>
        <p:spPr>
          <a:xfrm>
            <a:off x="6147410" y="1635673"/>
            <a:ext cx="2106649" cy="2607494"/>
          </a:xfrm>
          <a:prstGeom prst="rect">
            <a:avLst/>
          </a:prstGeom>
        </p:spPr>
      </p:pic>
      <p:pic>
        <p:nvPicPr>
          <p:cNvPr id="5" name="Picture 2" descr="Výsledek obrázku pro napište">
            <a:extLst>
              <a:ext uri="{FF2B5EF4-FFF2-40B4-BE49-F238E27FC236}">
                <a16:creationId xmlns:a16="http://schemas.microsoft.com/office/drawing/2014/main" id="{6520F3BF-FA82-4199-852A-4BF8EFFFB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1297" y="1635673"/>
            <a:ext cx="2400406" cy="281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0368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946" name="Picture 13">
            <a:extLst>
              <a:ext uri="{FF2B5EF4-FFF2-40B4-BE49-F238E27FC236}">
                <a16:creationId xmlns:a16="http://schemas.microsoft.com/office/drawing/2014/main" id="{A1A79FB6-1A76-4B86-A237-4885E88586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06463" y="-323850"/>
            <a:ext cx="12855576" cy="857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B7738BE-D897-4213-AE35-0999EF2807D1}"/>
              </a:ext>
            </a:extLst>
          </p:cNvPr>
          <p:cNvSpPr txBox="1">
            <a:spLocks/>
          </p:cNvSpPr>
          <p:nvPr/>
        </p:nvSpPr>
        <p:spPr bwMode="auto">
          <a:xfrm>
            <a:off x="1214447" y="3413125"/>
            <a:ext cx="9639300" cy="492125"/>
          </a:xfrm>
          <a:prstGeom prst="rect">
            <a:avLst/>
          </a:prstGeom>
          <a:noFill/>
        </p:spPr>
        <p:txBody>
          <a:bodyPr/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Manrope" pitchFamily="2" charset="0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Manrope" pitchFamily="2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Manrope" pitchFamily="2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Manrope" pitchFamily="2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Manrope" pitchFamily="2" charset="0"/>
              </a:defRPr>
            </a:lvl5pPr>
            <a:lvl6pPr marL="457338" algn="l" defTabSz="89562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SABMiller Headline" pitchFamily="2" charset="-18"/>
              </a:defRPr>
            </a:lvl6pPr>
            <a:lvl7pPr marL="914676" algn="l" defTabSz="89562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SABMiller Headline" pitchFamily="2" charset="-18"/>
              </a:defRPr>
            </a:lvl7pPr>
            <a:lvl8pPr marL="1372013" algn="l" defTabSz="89562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SABMiller Headline" pitchFamily="2" charset="-18"/>
              </a:defRPr>
            </a:lvl8pPr>
            <a:lvl9pPr marL="1829350" algn="l" defTabSz="895620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SABMiller Headline" pitchFamily="2" charset="-18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cs-CZ" sz="5400" b="1" dirty="0">
                <a:solidFill>
                  <a:schemeClr val="bg1"/>
                </a:solidFill>
              </a:rPr>
              <a:t>Děkujeme </a:t>
            </a:r>
            <a:r>
              <a:rPr lang="cs-CZ" sz="5400" b="1" kern="0" dirty="0">
                <a:solidFill>
                  <a:schemeClr val="bg1"/>
                </a:solidFill>
              </a:rPr>
              <a:t>za pozornost</a:t>
            </a:r>
          </a:p>
        </p:txBody>
      </p:sp>
      <p:sp>
        <p:nvSpPr>
          <p:cNvPr id="82948" name="Rectangle 5">
            <a:extLst>
              <a:ext uri="{FF2B5EF4-FFF2-40B4-BE49-F238E27FC236}">
                <a16:creationId xmlns:a16="http://schemas.microsoft.com/office/drawing/2014/main" id="{BBF972E4-961E-4616-95C9-23B617EC3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171575" y="4340225"/>
            <a:ext cx="2540000" cy="82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endParaRPr lang="cs-CZ" altLang="cs-CZ"/>
          </a:p>
        </p:txBody>
      </p:sp>
      <p:pic>
        <p:nvPicPr>
          <p:cNvPr id="82949" name="Picture 6">
            <a:extLst>
              <a:ext uri="{FF2B5EF4-FFF2-40B4-BE49-F238E27FC236}">
                <a16:creationId xmlns:a16="http://schemas.microsoft.com/office/drawing/2014/main" id="{89080A69-51A3-4630-9056-1D073EF55E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8" y="1382713"/>
            <a:ext cx="2454275" cy="2386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3A7EFBFB-627E-464E-B0A9-56C00FF0EAC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54" b="10072"/>
          <a:stretch/>
        </p:blipFill>
        <p:spPr>
          <a:xfrm>
            <a:off x="3956475" y="1867881"/>
            <a:ext cx="4036162" cy="2985712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35233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3A7EFBFB-627E-464E-B0A9-56C00FF0EAC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54" b="10072"/>
          <a:stretch/>
        </p:blipFill>
        <p:spPr>
          <a:xfrm>
            <a:off x="837395" y="1867881"/>
            <a:ext cx="4036162" cy="2985712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4C7F2447-ABF1-43CE-8E85-F73BF538E092}"/>
              </a:ext>
            </a:extLst>
          </p:cNvPr>
          <p:cNvSpPr txBox="1"/>
          <p:nvPr/>
        </p:nvSpPr>
        <p:spPr>
          <a:xfrm>
            <a:off x="4679005" y="1837243"/>
            <a:ext cx="612842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/>
              <a:t>480 zákazníků/1632 provozoven</a:t>
            </a:r>
          </a:p>
          <a:p>
            <a:endParaRPr lang="cs-CZ" sz="3200" dirty="0"/>
          </a:p>
          <a:p>
            <a:r>
              <a:rPr lang="cs-CZ" sz="3200" dirty="0"/>
              <a:t>segmentace dle podmínek výtoče a kvality provozovny</a:t>
            </a:r>
          </a:p>
          <a:p>
            <a:endParaRPr lang="cs-CZ" sz="3200" dirty="0"/>
          </a:p>
          <a:p>
            <a:r>
              <a:rPr lang="cs-CZ" sz="3200" dirty="0" err="1"/>
              <a:t>loajalitní</a:t>
            </a:r>
            <a:r>
              <a:rPr lang="cs-CZ" sz="3200" dirty="0"/>
              <a:t> program</a:t>
            </a:r>
          </a:p>
        </p:txBody>
      </p:sp>
    </p:spTree>
    <p:extLst>
      <p:ext uri="{BB962C8B-B14F-4D97-AF65-F5344CB8AC3E}">
        <p14:creationId xmlns:p14="http://schemas.microsoft.com/office/powerpoint/2010/main" val="366615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670DBD5-770C-4383-9F54-5B86E86BD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86166" y="49"/>
            <a:ext cx="9576780" cy="6721376"/>
          </a:xfrm>
          <a:custGeom>
            <a:avLst/>
            <a:gdLst>
              <a:gd name="connsiteX0" fmla="*/ 1422188 w 9771446"/>
              <a:gd name="connsiteY0" fmla="*/ 0 h 6858000"/>
              <a:gd name="connsiteX1" fmla="*/ 8349258 w 9771446"/>
              <a:gd name="connsiteY1" fmla="*/ 0 h 6858000"/>
              <a:gd name="connsiteX2" fmla="*/ 8502224 w 9771446"/>
              <a:gd name="connsiteY2" fmla="*/ 159673 h 6858000"/>
              <a:gd name="connsiteX3" fmla="*/ 9771446 w 9771446"/>
              <a:gd name="connsiteY3" fmla="*/ 3429001 h 6858000"/>
              <a:gd name="connsiteX4" fmla="*/ 8502224 w 9771446"/>
              <a:gd name="connsiteY4" fmla="*/ 6698330 h 6858000"/>
              <a:gd name="connsiteX5" fmla="*/ 8349260 w 9771446"/>
              <a:gd name="connsiteY5" fmla="*/ 6858000 h 6858000"/>
              <a:gd name="connsiteX6" fmla="*/ 1422186 w 9771446"/>
              <a:gd name="connsiteY6" fmla="*/ 6858000 h 6858000"/>
              <a:gd name="connsiteX7" fmla="*/ 1269223 w 9771446"/>
              <a:gd name="connsiteY7" fmla="*/ 6698330 h 6858000"/>
              <a:gd name="connsiteX8" fmla="*/ 0 w 9771446"/>
              <a:gd name="connsiteY8" fmla="*/ 3429001 h 6858000"/>
              <a:gd name="connsiteX9" fmla="*/ 1269223 w 9771446"/>
              <a:gd name="connsiteY9" fmla="*/ 1596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71446" h="6858000">
                <a:moveTo>
                  <a:pt x="1422188" y="0"/>
                </a:moveTo>
                <a:lnTo>
                  <a:pt x="8349258" y="0"/>
                </a:lnTo>
                <a:lnTo>
                  <a:pt x="8502224" y="159673"/>
                </a:lnTo>
                <a:cubicBezTo>
                  <a:pt x="9290813" y="1023162"/>
                  <a:pt x="9771446" y="2170221"/>
                  <a:pt x="9771446" y="3429001"/>
                </a:cubicBezTo>
                <a:cubicBezTo>
                  <a:pt x="9771446" y="4687781"/>
                  <a:pt x="9290813" y="5834840"/>
                  <a:pt x="8502224" y="6698330"/>
                </a:cubicBezTo>
                <a:lnTo>
                  <a:pt x="8349260" y="6858000"/>
                </a:lnTo>
                <a:lnTo>
                  <a:pt x="1422186" y="6858000"/>
                </a:lnTo>
                <a:lnTo>
                  <a:pt x="1269223" y="6698330"/>
                </a:lnTo>
                <a:cubicBezTo>
                  <a:pt x="480633" y="5834840"/>
                  <a:pt x="0" y="4687781"/>
                  <a:pt x="0" y="3429001"/>
                </a:cubicBezTo>
                <a:cubicBezTo>
                  <a:pt x="0" y="2170221"/>
                  <a:pt x="480633" y="1023162"/>
                  <a:pt x="1269223" y="159673"/>
                </a:cubicBezTo>
                <a:close/>
              </a:path>
            </a:pathLst>
          </a:custGeom>
          <a:solidFill>
            <a:schemeClr val="bg1">
              <a:lumMod val="85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28C741C-C9AB-46EA-9670-FB62CAD63A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54" b="10072"/>
          <a:stretch/>
        </p:blipFill>
        <p:spPr>
          <a:xfrm>
            <a:off x="3956475" y="1867881"/>
            <a:ext cx="4036162" cy="2985712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</p:spPr>
      </p:pic>
      <p:grpSp>
        <p:nvGrpSpPr>
          <p:cNvPr id="9" name="Skupina 8">
            <a:extLst>
              <a:ext uri="{FF2B5EF4-FFF2-40B4-BE49-F238E27FC236}">
                <a16:creationId xmlns:a16="http://schemas.microsoft.com/office/drawing/2014/main" id="{5BC88DFB-E039-4FA2-9371-E8B0D7DF5A44}"/>
              </a:ext>
            </a:extLst>
          </p:cNvPr>
          <p:cNvGrpSpPr/>
          <p:nvPr/>
        </p:nvGrpSpPr>
        <p:grpSpPr>
          <a:xfrm>
            <a:off x="7609170" y="4366532"/>
            <a:ext cx="1705032" cy="1782865"/>
            <a:chOff x="7403445" y="4431449"/>
            <a:chExt cx="1739690" cy="1819105"/>
          </a:xfrm>
        </p:grpSpPr>
        <p:sp>
          <p:nvSpPr>
            <p:cNvPr id="7" name="TextovéPole 6">
              <a:extLst>
                <a:ext uri="{FF2B5EF4-FFF2-40B4-BE49-F238E27FC236}">
                  <a16:creationId xmlns:a16="http://schemas.microsoft.com/office/drawing/2014/main" id="{99217AE4-60E5-46FF-BDE7-3BC0B8F2AB94}"/>
                </a:ext>
              </a:extLst>
            </p:cNvPr>
            <p:cNvSpPr txBox="1"/>
            <p:nvPr/>
          </p:nvSpPr>
          <p:spPr>
            <a:xfrm>
              <a:off x="7403445" y="5542668"/>
              <a:ext cx="173969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STUPENKY NA AKCE </a:t>
              </a:r>
            </a:p>
          </p:txBody>
        </p:sp>
        <p:pic>
          <p:nvPicPr>
            <p:cNvPr id="1026" name="Picture 2" descr="Two movie tickets symbol Stock vektory, Royalty Free Two movie tickets  symbol Ilustrace - Page 2 | Depositphotos®">
              <a:extLst>
                <a:ext uri="{FF2B5EF4-FFF2-40B4-BE49-F238E27FC236}">
                  <a16:creationId xmlns:a16="http://schemas.microsoft.com/office/drawing/2014/main" id="{EA35A3B1-1CE1-48A3-AC14-6079A594B7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0763" y="4431449"/>
              <a:ext cx="1065053" cy="10650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Skupina 4">
            <a:extLst>
              <a:ext uri="{FF2B5EF4-FFF2-40B4-BE49-F238E27FC236}">
                <a16:creationId xmlns:a16="http://schemas.microsoft.com/office/drawing/2014/main" id="{62CD71D3-5B2D-463E-8689-EB4097D16D68}"/>
              </a:ext>
            </a:extLst>
          </p:cNvPr>
          <p:cNvGrpSpPr/>
          <p:nvPr/>
        </p:nvGrpSpPr>
        <p:grpSpPr>
          <a:xfrm>
            <a:off x="5048182" y="4575918"/>
            <a:ext cx="2118695" cy="2041465"/>
            <a:chOff x="4348095" y="4614034"/>
            <a:chExt cx="2161761" cy="2082962"/>
          </a:xfrm>
        </p:grpSpPr>
        <p:sp>
          <p:nvSpPr>
            <p:cNvPr id="6" name="TextovéPole 5">
              <a:extLst>
                <a:ext uri="{FF2B5EF4-FFF2-40B4-BE49-F238E27FC236}">
                  <a16:creationId xmlns:a16="http://schemas.microsoft.com/office/drawing/2014/main" id="{B5131692-2CC0-4EDB-83A5-C8CFFFC8700B}"/>
                </a:ext>
              </a:extLst>
            </p:cNvPr>
            <p:cNvSpPr txBox="1"/>
            <p:nvPr/>
          </p:nvSpPr>
          <p:spPr>
            <a:xfrm>
              <a:off x="4348095" y="5989110"/>
              <a:ext cx="216176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ÁREK K NAROZENINÁM </a:t>
              </a:r>
            </a:p>
          </p:txBody>
        </p:sp>
        <p:pic>
          <p:nvPicPr>
            <p:cNvPr id="1028" name="Picture 4" descr="Box, gift, present icon - Download on Iconfinder | Gift logo, Box icon, Gift  box design">
              <a:extLst>
                <a:ext uri="{FF2B5EF4-FFF2-40B4-BE49-F238E27FC236}">
                  <a16:creationId xmlns:a16="http://schemas.microsoft.com/office/drawing/2014/main" id="{27D363B4-77A7-4690-A282-0D675A9833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736" y="4614034"/>
              <a:ext cx="1842621" cy="1840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684A66AA-97C2-49DA-95C8-862C5AC99F8B}"/>
              </a:ext>
            </a:extLst>
          </p:cNvPr>
          <p:cNvGrpSpPr/>
          <p:nvPr/>
        </p:nvGrpSpPr>
        <p:grpSpPr>
          <a:xfrm>
            <a:off x="2894638" y="4835050"/>
            <a:ext cx="1705032" cy="1474580"/>
            <a:chOff x="2370915" y="3861937"/>
            <a:chExt cx="1739690" cy="1504554"/>
          </a:xfrm>
        </p:grpSpPr>
        <p:sp>
          <p:nvSpPr>
            <p:cNvPr id="4" name="TextovéPole 3">
              <a:extLst>
                <a:ext uri="{FF2B5EF4-FFF2-40B4-BE49-F238E27FC236}">
                  <a16:creationId xmlns:a16="http://schemas.microsoft.com/office/drawing/2014/main" id="{BD20CD82-3F26-4BBA-A434-8976FC601521}"/>
                </a:ext>
              </a:extLst>
            </p:cNvPr>
            <p:cNvSpPr txBox="1"/>
            <p:nvPr/>
          </p:nvSpPr>
          <p:spPr>
            <a:xfrm>
              <a:off x="2370915" y="4658605"/>
              <a:ext cx="173969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AGAZÍN KKZPP</a:t>
              </a:r>
            </a:p>
          </p:txBody>
        </p:sp>
        <p:pic>
          <p:nvPicPr>
            <p:cNvPr id="1030" name="Picture 6" descr="Zeitschrift Icon - Lade PNG und Vektor kostenlos herunter">
              <a:extLst>
                <a:ext uri="{FF2B5EF4-FFF2-40B4-BE49-F238E27FC236}">
                  <a16:creationId xmlns:a16="http://schemas.microsoft.com/office/drawing/2014/main" id="{4A31DF1F-F6C5-45AB-B7DA-341119B288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034" y="3861937"/>
              <a:ext cx="721452" cy="721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AE71BDE5-CFF2-4178-BF38-F34B51DA1B79}"/>
              </a:ext>
            </a:extLst>
          </p:cNvPr>
          <p:cNvGrpSpPr/>
          <p:nvPr/>
        </p:nvGrpSpPr>
        <p:grpSpPr>
          <a:xfrm>
            <a:off x="1974571" y="3037091"/>
            <a:ext cx="1727808" cy="1582589"/>
            <a:chOff x="2383313" y="2462245"/>
            <a:chExt cx="1784945" cy="1642646"/>
          </a:xfrm>
        </p:grpSpPr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E8858176-7F6F-481A-A9C9-5E62F5A66715}"/>
                </a:ext>
              </a:extLst>
            </p:cNvPr>
            <p:cNvSpPr txBox="1"/>
            <p:nvPr/>
          </p:nvSpPr>
          <p:spPr>
            <a:xfrm>
              <a:off x="2383313" y="3382920"/>
              <a:ext cx="1784945" cy="7219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TKÁNÍ KKZPP</a:t>
              </a:r>
            </a:p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9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032" name="Picture 8" descr="Icon request: fa-event · Issue #14753 · FortAwesome/Font-Awesome · GitHub">
              <a:extLst>
                <a:ext uri="{FF2B5EF4-FFF2-40B4-BE49-F238E27FC236}">
                  <a16:creationId xmlns:a16="http://schemas.microsoft.com/office/drawing/2014/main" id="{4F07F167-7E66-45B5-B3E3-A08FC23FA5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6039" y="2462245"/>
              <a:ext cx="1201980" cy="856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7956E622-8735-4075-9608-751E3A1C59DD}"/>
              </a:ext>
            </a:extLst>
          </p:cNvPr>
          <p:cNvGrpSpPr/>
          <p:nvPr/>
        </p:nvGrpSpPr>
        <p:grpSpPr>
          <a:xfrm>
            <a:off x="6778980" y="381351"/>
            <a:ext cx="3058534" cy="1732444"/>
            <a:chOff x="6231675" y="37705"/>
            <a:chExt cx="3120704" cy="1767659"/>
          </a:xfrm>
        </p:grpSpPr>
        <p:sp>
          <p:nvSpPr>
            <p:cNvPr id="19" name="TextovéPole 18">
              <a:extLst>
                <a:ext uri="{FF2B5EF4-FFF2-40B4-BE49-F238E27FC236}">
                  <a16:creationId xmlns:a16="http://schemas.microsoft.com/office/drawing/2014/main" id="{C03C8FA4-4AE7-4E24-9B81-24E59708AC36}"/>
                </a:ext>
              </a:extLst>
            </p:cNvPr>
            <p:cNvSpPr txBox="1"/>
            <p:nvPr/>
          </p:nvSpPr>
          <p:spPr>
            <a:xfrm>
              <a:off x="6231675" y="1097478"/>
              <a:ext cx="312070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ŠKOLENÍ A ROZVOJ PROVOZOVNY</a:t>
              </a:r>
            </a:p>
          </p:txBody>
        </p:sp>
        <p:pic>
          <p:nvPicPr>
            <p:cNvPr id="1036" name="Picture 12" descr="Ikona téma školení — Stock Vektor © Howcolour #102973870">
              <a:extLst>
                <a:ext uri="{FF2B5EF4-FFF2-40B4-BE49-F238E27FC236}">
                  <a16:creationId xmlns:a16="http://schemas.microsoft.com/office/drawing/2014/main" id="{8C63EFF6-9C3C-4192-B569-9BEC64FD0E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2057" y="37705"/>
              <a:ext cx="1104156" cy="1104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643DABFD-F3FC-4B14-9782-19BCAEB2F59D}"/>
              </a:ext>
            </a:extLst>
          </p:cNvPr>
          <p:cNvGrpSpPr/>
          <p:nvPr/>
        </p:nvGrpSpPr>
        <p:grpSpPr>
          <a:xfrm>
            <a:off x="3990244" y="258413"/>
            <a:ext cx="3058534" cy="1035334"/>
            <a:chOff x="3215113" y="91258"/>
            <a:chExt cx="3120704" cy="1056379"/>
          </a:xfrm>
        </p:grpSpPr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CCA21714-8B13-4256-A59C-0FB0EF0981D2}"/>
                </a:ext>
              </a:extLst>
            </p:cNvPr>
            <p:cNvSpPr txBox="1"/>
            <p:nvPr/>
          </p:nvSpPr>
          <p:spPr>
            <a:xfrm>
              <a:off x="3215113" y="747527"/>
              <a:ext cx="31207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ODAVATELSKÉ SLEVY</a:t>
              </a:r>
            </a:p>
          </p:txBody>
        </p:sp>
        <p:pic>
          <p:nvPicPr>
            <p:cNvPr id="1038" name="Picture 14" descr="Proběhlé akce">
              <a:extLst>
                <a:ext uri="{FF2B5EF4-FFF2-40B4-BE49-F238E27FC236}">
                  <a16:creationId xmlns:a16="http://schemas.microsoft.com/office/drawing/2014/main" id="{E1E338D1-3F43-4A39-B224-4DE3D00264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7330" y="91258"/>
              <a:ext cx="656269" cy="656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B82ADE69-1BFE-43AC-917A-F4E69B951E76}"/>
              </a:ext>
            </a:extLst>
          </p:cNvPr>
          <p:cNvGrpSpPr/>
          <p:nvPr/>
        </p:nvGrpSpPr>
        <p:grpSpPr>
          <a:xfrm>
            <a:off x="2154299" y="1647939"/>
            <a:ext cx="3058534" cy="857995"/>
            <a:chOff x="1867832" y="1762417"/>
            <a:chExt cx="3120704" cy="875435"/>
          </a:xfrm>
        </p:grpSpPr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728F69EC-72EC-4359-9129-9C5B4D6706B8}"/>
                </a:ext>
              </a:extLst>
            </p:cNvPr>
            <p:cNvSpPr txBox="1"/>
            <p:nvPr/>
          </p:nvSpPr>
          <p:spPr>
            <a:xfrm>
              <a:off x="1867832" y="2237742"/>
              <a:ext cx="31207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8962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96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BENEFITNÍ PROGRAM</a:t>
              </a:r>
            </a:p>
          </p:txBody>
        </p:sp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F65AEE56-6B56-41BB-8438-AEB6E55BC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204337" y="1762417"/>
              <a:ext cx="1498280" cy="400109"/>
            </a:xfrm>
            <a:prstGeom prst="rect">
              <a:avLst/>
            </a:prstGeom>
          </p:spPr>
        </p:pic>
      </p:grp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13929D3E-94E7-4AA3-9080-EB4866B4B554}"/>
              </a:ext>
            </a:extLst>
          </p:cNvPr>
          <p:cNvSpPr txBox="1"/>
          <p:nvPr/>
        </p:nvSpPr>
        <p:spPr>
          <a:xfrm>
            <a:off x="7373848" y="2555084"/>
            <a:ext cx="2653647" cy="693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92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AM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F822707C-5596-498D-864E-E05C2B94AA38}"/>
              </a:ext>
            </a:extLst>
          </p:cNvPr>
          <p:cNvSpPr txBox="1"/>
          <p:nvPr/>
        </p:nvSpPr>
        <p:spPr>
          <a:xfrm>
            <a:off x="8110735" y="3613517"/>
            <a:ext cx="1159283" cy="361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6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těže</a:t>
            </a: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id="{23092E75-5E67-4B78-9117-3E0A89A9C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369181" y="4482939"/>
            <a:ext cx="5207558" cy="92979"/>
          </a:xfrm>
          <a:prstGeom prst="rect">
            <a:avLst/>
          </a:prstGeom>
          <a:solidFill>
            <a:srgbClr val="1A3E13"/>
          </a:solidFill>
          <a:ln>
            <a:solidFill>
              <a:srgbClr val="1A3E13"/>
            </a:solidFill>
          </a:ln>
        </p:spPr>
        <p:txBody>
          <a:bodyPr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445152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CB8C01-FE53-4506-9B6A-EA1C71A74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0294" y="742194"/>
            <a:ext cx="9486477" cy="1299155"/>
          </a:xfrm>
        </p:spPr>
        <p:txBody>
          <a:bodyPr/>
          <a:lstStyle/>
          <a:p>
            <a:r>
              <a:rPr lang="cs-CZ" b="1" dirty="0"/>
              <a:t>Pivovar na dotek</a:t>
            </a:r>
          </a:p>
        </p:txBody>
      </p:sp>
      <p:pic>
        <p:nvPicPr>
          <p:cNvPr id="4" name="Zástupný obsah 4">
            <a:extLst>
              <a:ext uri="{FF2B5EF4-FFF2-40B4-BE49-F238E27FC236}">
                <a16:creationId xmlns:a16="http://schemas.microsoft.com/office/drawing/2014/main" id="{600BAE1A-1723-424D-99CE-1CAF2C60202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1" y="187846"/>
            <a:ext cx="1639263" cy="1639263"/>
          </a:xfrm>
          <a:prstGeom prst="rect">
            <a:avLst/>
          </a:prstGeom>
        </p:spPr>
      </p:pic>
      <p:pic>
        <p:nvPicPr>
          <p:cNvPr id="8" name="Zástupný obsah 7" descr="Obsah obrázku text, osoba, interiér, lidé&#10;&#10;Popis byl vytvořen automaticky">
            <a:extLst>
              <a:ext uri="{FF2B5EF4-FFF2-40B4-BE49-F238E27FC236}">
                <a16:creationId xmlns:a16="http://schemas.microsoft.com/office/drawing/2014/main" id="{24223BBE-52C1-416C-A888-07804F5B3F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1" y="1827109"/>
            <a:ext cx="2916639" cy="1944426"/>
          </a:xfrm>
        </p:spPr>
      </p:pic>
      <p:pic>
        <p:nvPicPr>
          <p:cNvPr id="10" name="Obrázek 9" descr="Obsah obrázku text, osoba, interiér, scéna&#10;&#10;Popis byl vytvořen automaticky">
            <a:extLst>
              <a:ext uri="{FF2B5EF4-FFF2-40B4-BE49-F238E27FC236}">
                <a16:creationId xmlns:a16="http://schemas.microsoft.com/office/drawing/2014/main" id="{9E47823F-A33E-4DAF-98EA-80F86D372A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2050" y="1827110"/>
            <a:ext cx="2916639" cy="1944426"/>
          </a:xfrm>
          <a:prstGeom prst="rect">
            <a:avLst/>
          </a:prstGeom>
        </p:spPr>
      </p:pic>
      <p:pic>
        <p:nvPicPr>
          <p:cNvPr id="12" name="Obrázek 11" descr="Obsah obrázku tráva, osoba, exteriér, lidé&#10;&#10;Popis byl vytvořen automaticky">
            <a:extLst>
              <a:ext uri="{FF2B5EF4-FFF2-40B4-BE49-F238E27FC236}">
                <a16:creationId xmlns:a16="http://schemas.microsoft.com/office/drawing/2014/main" id="{9555D4BB-0465-436D-A792-8FCBD18F69A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689" y="1817019"/>
            <a:ext cx="2916640" cy="1944426"/>
          </a:xfrm>
          <a:prstGeom prst="rect">
            <a:avLst/>
          </a:prstGeom>
        </p:spPr>
      </p:pic>
      <p:pic>
        <p:nvPicPr>
          <p:cNvPr id="14" name="Obrázek 13" descr="Obsah obrázku osoba, interiér, strop&#10;&#10;Popis byl vytvořen automaticky">
            <a:extLst>
              <a:ext uri="{FF2B5EF4-FFF2-40B4-BE49-F238E27FC236}">
                <a16:creationId xmlns:a16="http://schemas.microsoft.com/office/drawing/2014/main" id="{C841A76E-9F42-49D1-9246-2DADD02DD3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172" y="1806929"/>
            <a:ext cx="2916640" cy="1944427"/>
          </a:xfrm>
          <a:prstGeom prst="rect">
            <a:avLst/>
          </a:prstGeom>
        </p:spPr>
      </p:pic>
      <p:pic>
        <p:nvPicPr>
          <p:cNvPr id="16" name="Obrázek 15" descr="Obsah obrázku scéna, osoba, fáze, stojící&#10;&#10;Popis byl vytvořen automaticky">
            <a:extLst>
              <a:ext uri="{FF2B5EF4-FFF2-40B4-BE49-F238E27FC236}">
                <a16:creationId xmlns:a16="http://schemas.microsoft.com/office/drawing/2014/main" id="{B9036C95-A729-47EC-91A8-8D246EF446B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1" y="3965596"/>
            <a:ext cx="2916639" cy="1944426"/>
          </a:xfrm>
          <a:prstGeom prst="rect">
            <a:avLst/>
          </a:prstGeom>
        </p:spPr>
      </p:pic>
      <p:pic>
        <p:nvPicPr>
          <p:cNvPr id="20" name="Obrázek 19" descr="Obsah obrázku osoba, interiér, strop, ruleta&#10;&#10;Popis byl vytvořen automaticky">
            <a:extLst>
              <a:ext uri="{FF2B5EF4-FFF2-40B4-BE49-F238E27FC236}">
                <a16:creationId xmlns:a16="http://schemas.microsoft.com/office/drawing/2014/main" id="{349390D6-6B1A-4815-B2B8-116BA61F8A7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2050" y="3965596"/>
            <a:ext cx="2916639" cy="1944426"/>
          </a:xfrm>
          <a:prstGeom prst="rect">
            <a:avLst/>
          </a:prstGeom>
        </p:spPr>
      </p:pic>
      <p:pic>
        <p:nvPicPr>
          <p:cNvPr id="22" name="Obrázek 21" descr="Obsah obrázku interiér, osoba, strop, restaurace&#10;&#10;Popis byl vytvořen automaticky">
            <a:extLst>
              <a:ext uri="{FF2B5EF4-FFF2-40B4-BE49-F238E27FC236}">
                <a16:creationId xmlns:a16="http://schemas.microsoft.com/office/drawing/2014/main" id="{27EF96A0-CC4F-474A-AAE8-16CC49A96FD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328" y="3965596"/>
            <a:ext cx="2916641" cy="1944427"/>
          </a:xfrm>
          <a:prstGeom prst="rect">
            <a:avLst/>
          </a:prstGeom>
        </p:spPr>
      </p:pic>
      <p:pic>
        <p:nvPicPr>
          <p:cNvPr id="24" name="Obrázek 23" descr="Obsah obrázku osoba, interiér, patro&#10;&#10;Popis byl vytvořen automaticky">
            <a:extLst>
              <a:ext uri="{FF2B5EF4-FFF2-40B4-BE49-F238E27FC236}">
                <a16:creationId xmlns:a16="http://schemas.microsoft.com/office/drawing/2014/main" id="{D2AE7F55-7644-4456-A49A-5DA7E69E612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534" y="3946578"/>
            <a:ext cx="2945165" cy="196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72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9ECAADCB-DB8E-4CAE-975D-D8CC7C30B3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969" y="2722123"/>
            <a:ext cx="10740685" cy="1445508"/>
          </a:xfrm>
        </p:spPr>
        <p:txBody>
          <a:bodyPr/>
          <a:lstStyle/>
          <a:p>
            <a:pPr marL="0" indent="0" algn="ctr">
              <a:buNone/>
            </a:pPr>
            <a:r>
              <a:rPr lang="cs-CZ" sz="36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„Připravte koncept každoročního osobního setkání </a:t>
            </a:r>
            <a:br>
              <a:rPr lang="cs-CZ" sz="36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</a:br>
            <a:r>
              <a:rPr lang="cs-CZ" sz="36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top zákazníků Klubu klíčových zákazníků </a:t>
            </a:r>
            <a:br>
              <a:rPr lang="cs-CZ" sz="36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</a:br>
            <a:r>
              <a:rPr lang="cs-CZ" sz="3600" b="1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Plzeňského Prazdroje“</a:t>
            </a:r>
          </a:p>
          <a:p>
            <a:pPr marL="0" indent="0" algn="ctr">
              <a:buNone/>
            </a:pPr>
            <a:endParaRPr lang="cs-CZ" sz="3600" b="1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  <a:p>
            <a:pPr algn="ctr"/>
            <a:endParaRPr lang="cs-CZ" sz="3600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DE9EE93-A6E7-4303-9FF5-D45812E66C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adání</a:t>
            </a:r>
          </a:p>
        </p:txBody>
      </p:sp>
    </p:spTree>
    <p:extLst>
      <p:ext uri="{BB962C8B-B14F-4D97-AF65-F5344CB8AC3E}">
        <p14:creationId xmlns:p14="http://schemas.microsoft.com/office/powerpoint/2010/main" val="2777960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obsah 7">
            <a:extLst>
              <a:ext uri="{FF2B5EF4-FFF2-40B4-BE49-F238E27FC236}">
                <a16:creationId xmlns:a16="http://schemas.microsoft.com/office/drawing/2014/main" id="{1B482437-47BF-4612-B3CC-7D00B1D6E4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522" y="1739329"/>
            <a:ext cx="10740685" cy="1995131"/>
          </a:xfrm>
        </p:spPr>
        <p:txBody>
          <a:bodyPr/>
          <a:lstStyle/>
          <a:p>
            <a:r>
              <a:rPr lang="cs-CZ" b="1" dirty="0"/>
              <a:t>Cílem je připravit event pro naše top klíčové zákazníky, jehož cílem je: </a:t>
            </a:r>
            <a:endParaRPr lang="cs-CZ" sz="2400" dirty="0"/>
          </a:p>
          <a:p>
            <a:pPr lvl="1"/>
            <a:r>
              <a:rPr lang="cs-CZ" dirty="0"/>
              <a:t>poděkovat zákazníkům za celoroční spolupráci </a:t>
            </a:r>
            <a:r>
              <a:rPr lang="cs-CZ" dirty="0">
                <a:sym typeface="Wingdings" panose="05000000000000000000" pitchFamily="2" charset="2"/>
              </a:rPr>
              <a:t> odměna pro zákazníky,</a:t>
            </a:r>
            <a:endParaRPr lang="cs-CZ" dirty="0"/>
          </a:p>
          <a:p>
            <a:pPr lvl="1"/>
            <a:r>
              <a:rPr lang="cs-CZ" dirty="0"/>
              <a:t>navázat a prohloubit osobní vztahy </a:t>
            </a:r>
            <a:r>
              <a:rPr lang="cs-CZ" dirty="0">
                <a:sym typeface="Wingdings" panose="05000000000000000000" pitchFamily="2" charset="2"/>
              </a:rPr>
              <a:t> možnost potkat se osobně ve větším plénu</a:t>
            </a:r>
            <a:r>
              <a:rPr lang="cs-CZ" dirty="0"/>
              <a:t>,</a:t>
            </a:r>
          </a:p>
          <a:p>
            <a:pPr lvl="1"/>
            <a:r>
              <a:rPr lang="cs-CZ" dirty="0"/>
              <a:t>komunikace vize společnosti </a:t>
            </a:r>
            <a:r>
              <a:rPr lang="cs-CZ" dirty="0">
                <a:sym typeface="Wingdings" panose="05000000000000000000" pitchFamily="2" charset="2"/>
              </a:rPr>
              <a:t></a:t>
            </a:r>
            <a:r>
              <a:rPr lang="cs-CZ" dirty="0"/>
              <a:t> prostor pro sdílení inovací a rozvoje.</a:t>
            </a:r>
          </a:p>
          <a:p>
            <a:endParaRPr lang="cs-CZ" b="1" dirty="0"/>
          </a:p>
          <a:p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EEC7A6D-6C20-4021-86CD-025E0177A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98" y="717265"/>
            <a:ext cx="10755260" cy="838200"/>
          </a:xfrm>
        </p:spPr>
        <p:txBody>
          <a:bodyPr/>
          <a:lstStyle/>
          <a:p>
            <a:r>
              <a:rPr lang="cs-CZ" dirty="0"/>
              <a:t>Cíle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D500E6D-58D1-441D-BFF6-ACA147E17ACB}"/>
              </a:ext>
            </a:extLst>
          </p:cNvPr>
          <p:cNvSpPr txBox="1"/>
          <p:nvPr/>
        </p:nvSpPr>
        <p:spPr>
          <a:xfrm>
            <a:off x="525293" y="3822971"/>
            <a:ext cx="1017513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04875" lvl="1" indent="-457200">
              <a:spcBef>
                <a:spcPts val="600"/>
              </a:spcBef>
              <a:buFont typeface="+mj-lt"/>
              <a:buAutoNum type="arabicPeriod"/>
            </a:pPr>
            <a:r>
              <a:rPr lang="cs-CZ" sz="2000" b="1" dirty="0"/>
              <a:t>Kdy by se event měl konat? – termín</a:t>
            </a:r>
          </a:p>
          <a:p>
            <a:pPr marL="904875" lvl="1" indent="-457200">
              <a:spcBef>
                <a:spcPts val="600"/>
              </a:spcBef>
              <a:buFont typeface="+mj-lt"/>
              <a:buAutoNum type="arabicPeriod"/>
            </a:pPr>
            <a:r>
              <a:rPr lang="cs-CZ" sz="2000" b="1" dirty="0"/>
              <a:t>Kde by se event měl konat? – lokalita </a:t>
            </a:r>
          </a:p>
          <a:p>
            <a:pPr marL="904875" lvl="1" indent="-457200">
              <a:spcBef>
                <a:spcPts val="600"/>
              </a:spcBef>
              <a:buFont typeface="+mj-lt"/>
              <a:buAutoNum type="arabicPeriod"/>
            </a:pPr>
            <a:r>
              <a:rPr lang="cs-CZ" sz="2000" b="1" dirty="0"/>
              <a:t>Jakým způsobem zákazníky informovat? – organizace/komunikace eventu</a:t>
            </a:r>
          </a:p>
          <a:p>
            <a:pPr marL="904875" lvl="1" indent="-457200">
              <a:spcBef>
                <a:spcPts val="600"/>
              </a:spcBef>
              <a:buFont typeface="+mj-lt"/>
              <a:buAutoNum type="arabicPeriod"/>
            </a:pPr>
            <a:r>
              <a:rPr lang="cs-CZ" sz="2000" b="1" dirty="0"/>
              <a:t>Jaký bude program a časové rozložení eventu? – program/aktivity</a:t>
            </a:r>
          </a:p>
          <a:p>
            <a:pPr marL="904875" lvl="1" indent="-457200">
              <a:spcBef>
                <a:spcPts val="600"/>
              </a:spcBef>
              <a:buFont typeface="+mj-lt"/>
              <a:buAutoNum type="arabicPeriod"/>
            </a:pPr>
            <a:r>
              <a:rPr lang="cs-CZ" sz="2000" b="1" dirty="0"/>
              <a:t>Hrubý nástřel nákladů – budget </a:t>
            </a:r>
            <a:endParaRPr lang="cs-CZ" sz="2000" dirty="0"/>
          </a:p>
        </p:txBody>
      </p:sp>
    </p:spTree>
    <p:extLst>
      <p:ext uri="{BB962C8B-B14F-4D97-AF65-F5344CB8AC3E}">
        <p14:creationId xmlns:p14="http://schemas.microsoft.com/office/powerpoint/2010/main" val="972692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1517515" y="1369338"/>
            <a:ext cx="7587574" cy="4323587"/>
          </a:xfrm>
        </p:spPr>
        <p:txBody>
          <a:bodyPr/>
          <a:lstStyle/>
          <a:p>
            <a:r>
              <a:rPr lang="cs-CZ" b="1" dirty="0"/>
              <a:t>účastníci přijíždí z celé České republiky</a:t>
            </a:r>
          </a:p>
          <a:p>
            <a:r>
              <a:rPr lang="cs-CZ" b="1" dirty="0"/>
              <a:t>event je celodenní s možností přespání do druhého dne</a:t>
            </a:r>
          </a:p>
          <a:p>
            <a:r>
              <a:rPr lang="cs-CZ" b="1" dirty="0"/>
              <a:t>Kdo je KA top zákazník?</a:t>
            </a:r>
          </a:p>
          <a:p>
            <a:r>
              <a:rPr lang="cs-CZ" b="1" dirty="0"/>
              <a:t>počet účastníků: 400 osob</a:t>
            </a:r>
          </a:p>
          <a:p>
            <a:pPr lvl="1"/>
            <a:r>
              <a:rPr lang="cs-CZ" b="1" dirty="0"/>
              <a:t>Jen top klíčoví zákazníci PP a. s. + doprovod (1 osoba, většinou partnerka/partner)</a:t>
            </a:r>
          </a:p>
          <a:p>
            <a:pPr lvl="1"/>
            <a:r>
              <a:rPr lang="cs-CZ" b="1" dirty="0"/>
              <a:t>relevantní interní zaměstnanci PPAS</a:t>
            </a:r>
          </a:p>
          <a:p>
            <a:r>
              <a:rPr lang="cs-CZ" b="1" dirty="0"/>
              <a:t>program: </a:t>
            </a:r>
          </a:p>
          <a:p>
            <a:pPr lvl="1"/>
            <a:r>
              <a:rPr lang="cs-CZ" b="1" dirty="0"/>
              <a:t>musí být prostor pro interní PP a. s. prezentaci (60 – 90 minut)</a:t>
            </a:r>
          </a:p>
          <a:p>
            <a:pPr lvl="1"/>
            <a:r>
              <a:rPr lang="cs-CZ" b="1" dirty="0"/>
              <a:t>nesmí chybět zábavné i rozvojové/vzdělávací aktivity</a:t>
            </a:r>
          </a:p>
          <a:p>
            <a:pPr lvl="1"/>
            <a:r>
              <a:rPr lang="cs-CZ" b="1" dirty="0"/>
              <a:t>nezapomeňte na doprovod a jeho aktivity</a:t>
            </a:r>
          </a:p>
          <a:p>
            <a:r>
              <a:rPr lang="cs-CZ" b="1" dirty="0"/>
              <a:t>budget: 4 000 000 Kč</a:t>
            </a:r>
          </a:p>
          <a:p>
            <a:pPr lvl="1"/>
            <a:endParaRPr lang="cs-CZ" b="1" dirty="0"/>
          </a:p>
          <a:p>
            <a:endParaRPr lang="cs-CZ" sz="1600" b="1" dirty="0"/>
          </a:p>
          <a:p>
            <a:endParaRPr lang="cs-CZ" b="1" dirty="0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596926" y="647870"/>
            <a:ext cx="10755260" cy="838200"/>
          </a:xfrm>
        </p:spPr>
        <p:txBody>
          <a:bodyPr/>
          <a:lstStyle/>
          <a:p>
            <a:r>
              <a:rPr lang="cs-CZ" dirty="0"/>
              <a:t>Detail zadání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79A4CCA-E21C-4E33-9DBA-0028F014B1C8}"/>
              </a:ext>
            </a:extLst>
          </p:cNvPr>
          <p:cNvSpPr txBox="1"/>
          <p:nvPr/>
        </p:nvSpPr>
        <p:spPr>
          <a:xfrm>
            <a:off x="9241276" y="2062264"/>
            <a:ext cx="25194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accent1"/>
                </a:solidFill>
              </a:rPr>
              <a:t>muž/žena</a:t>
            </a:r>
          </a:p>
          <a:p>
            <a:pPr algn="ctr"/>
            <a:r>
              <a:rPr lang="cs-CZ" b="1" dirty="0">
                <a:solidFill>
                  <a:schemeClr val="accent1"/>
                </a:solidFill>
              </a:rPr>
              <a:t>25-70</a:t>
            </a:r>
          </a:p>
          <a:p>
            <a:pPr algn="ctr"/>
            <a:r>
              <a:rPr lang="cs-CZ" b="1" dirty="0">
                <a:solidFill>
                  <a:schemeClr val="accent1"/>
                </a:solidFill>
              </a:rPr>
              <a:t>stará škola/progresivní</a:t>
            </a:r>
          </a:p>
          <a:p>
            <a:pPr algn="ctr"/>
            <a:r>
              <a:rPr lang="cs-CZ" b="1" dirty="0">
                <a:solidFill>
                  <a:schemeClr val="accent1"/>
                </a:solidFill>
              </a:rPr>
              <a:t>stagnující/aktivní</a:t>
            </a:r>
          </a:p>
          <a:p>
            <a:pPr algn="ctr"/>
            <a:r>
              <a:rPr lang="cs-CZ" b="1" dirty="0">
                <a:solidFill>
                  <a:schemeClr val="accent1"/>
                </a:solidFill>
              </a:rPr>
              <a:t>nedigitální/digitální</a:t>
            </a:r>
          </a:p>
        </p:txBody>
      </p:sp>
    </p:spTree>
    <p:extLst>
      <p:ext uri="{BB962C8B-B14F-4D97-AF65-F5344CB8AC3E}">
        <p14:creationId xmlns:p14="http://schemas.microsoft.com/office/powerpoint/2010/main" val="1053365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BAA4ACB5-8C45-4A06-8F0C-B43564E10E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501" y="1852168"/>
            <a:ext cx="10740685" cy="4056067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cs-CZ" b="1" dirty="0"/>
              <a:t>Udělejte si průzkum – zeptejte se provozovatelů/majitelů podniků, co by ocenili a chtěli zažít jako odměnu za vzájemnou spolupráci. </a:t>
            </a:r>
          </a:p>
          <a:p>
            <a:pPr marL="457200" indent="-457200">
              <a:buFont typeface="+mj-lt"/>
              <a:buAutoNum type="arabicPeriod"/>
            </a:pPr>
            <a:r>
              <a:rPr lang="cs-CZ" b="1" dirty="0"/>
              <a:t>Navrhněte hlavní téma eventu a možný termín a lokalitu.</a:t>
            </a:r>
          </a:p>
          <a:p>
            <a:pPr marL="457200" indent="-457200">
              <a:buFont typeface="+mj-lt"/>
              <a:buAutoNum type="arabicPeriod"/>
            </a:pPr>
            <a:endParaRPr lang="cs-CZ" b="1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cs-CZ" b="1" i="1" dirty="0"/>
              <a:t>Tuto část nám odprezentujete v </a:t>
            </a:r>
            <a:r>
              <a:rPr lang="cs-CZ" b="1" i="1" dirty="0" err="1"/>
              <a:t>midtermu</a:t>
            </a:r>
            <a:r>
              <a:rPr lang="cs-CZ" b="1" i="1" dirty="0"/>
              <a:t> – 18. 11. 2021</a:t>
            </a:r>
          </a:p>
          <a:p>
            <a:pPr marL="0" indent="0" algn="ctr">
              <a:lnSpc>
                <a:spcPct val="150000"/>
              </a:lnSpc>
              <a:buNone/>
            </a:pPr>
            <a:endParaRPr lang="cs-CZ" b="1" i="1" dirty="0"/>
          </a:p>
          <a:p>
            <a:pPr marL="457200" indent="-457200">
              <a:buFont typeface="+mj-lt"/>
              <a:buAutoNum type="arabicPeriod" startAt="3"/>
            </a:pPr>
            <a:r>
              <a:rPr lang="cs-CZ" b="1" dirty="0"/>
              <a:t>Navrhněte konkrétní řešení eventu – harmonogram příprav, způsob komunikace na účastníky setkání, konkrétní program eventu a hrubý návrh budgetu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3C414516-7193-48B4-A61B-549A3D5C8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26" y="813240"/>
            <a:ext cx="10755260" cy="838200"/>
          </a:xfrm>
        </p:spPr>
        <p:txBody>
          <a:bodyPr/>
          <a:lstStyle/>
          <a:p>
            <a:r>
              <a:rPr lang="cs-CZ" dirty="0"/>
              <a:t>Návrh přístupu</a:t>
            </a:r>
          </a:p>
        </p:txBody>
      </p:sp>
    </p:spTree>
    <p:extLst>
      <p:ext uri="{BB962C8B-B14F-4D97-AF65-F5344CB8AC3E}">
        <p14:creationId xmlns:p14="http://schemas.microsoft.com/office/powerpoint/2010/main" val="730151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7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2L9mK61k2mktXciShR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PBR8agXUexheO3WbT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_template_AJ">
  <a:themeElements>
    <a:clrScheme name="PP_template_AJ 4">
      <a:dk1>
        <a:srgbClr val="000000"/>
      </a:dk1>
      <a:lt1>
        <a:srgbClr val="FFFFFF"/>
      </a:lt1>
      <a:dk2>
        <a:srgbClr val="1D3E1C"/>
      </a:dk2>
      <a:lt2>
        <a:srgbClr val="760B02"/>
      </a:lt2>
      <a:accent1>
        <a:srgbClr val="9F8852"/>
      </a:accent1>
      <a:accent2>
        <a:srgbClr val="FCF6BF"/>
      </a:accent2>
      <a:accent3>
        <a:srgbClr val="FFFFFF"/>
      </a:accent3>
      <a:accent4>
        <a:srgbClr val="000000"/>
      </a:accent4>
      <a:accent5>
        <a:srgbClr val="CDC3B3"/>
      </a:accent5>
      <a:accent6>
        <a:srgbClr val="E4DFAD"/>
      </a:accent6>
      <a:hlink>
        <a:srgbClr val="C7D297"/>
      </a:hlink>
      <a:folHlink>
        <a:srgbClr val="D88A00"/>
      </a:folHlink>
    </a:clrScheme>
    <a:fontScheme name="Custom 1">
      <a:majorFont>
        <a:latin typeface="Manrope"/>
        <a:ea typeface=""/>
        <a:cs typeface=""/>
      </a:majorFont>
      <a:minorFont>
        <a:latin typeface="Manrope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PP_template_AJ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4">
        <a:dk1>
          <a:srgbClr val="000000"/>
        </a:dk1>
        <a:lt1>
          <a:srgbClr val="FFFFFF"/>
        </a:lt1>
        <a:dk2>
          <a:srgbClr val="1D3E1C"/>
        </a:dk2>
        <a:lt2>
          <a:srgbClr val="760B02"/>
        </a:lt2>
        <a:accent1>
          <a:srgbClr val="9F8852"/>
        </a:accent1>
        <a:accent2>
          <a:srgbClr val="FCF6BF"/>
        </a:accent2>
        <a:accent3>
          <a:srgbClr val="FFFFFF"/>
        </a:accent3>
        <a:accent4>
          <a:srgbClr val="000000"/>
        </a:accent4>
        <a:accent5>
          <a:srgbClr val="CDC3B3"/>
        </a:accent5>
        <a:accent6>
          <a:srgbClr val="E4DFAD"/>
        </a:accent6>
        <a:hlink>
          <a:srgbClr val="C7D297"/>
        </a:hlink>
        <a:folHlink>
          <a:srgbClr val="D88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erni_sablona Power Point">
  <a:themeElements>
    <a:clrScheme name="PP templa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A3E13"/>
      </a:accent1>
      <a:accent2>
        <a:srgbClr val="9F8852"/>
      </a:accent2>
      <a:accent3>
        <a:srgbClr val="FF0000"/>
      </a:accent3>
      <a:accent4>
        <a:srgbClr val="D88A00"/>
      </a:accent4>
      <a:accent5>
        <a:srgbClr val="FFC000"/>
      </a:accent5>
      <a:accent6>
        <a:srgbClr val="6DAA2D"/>
      </a:accent6>
      <a:hlink>
        <a:srgbClr val="39639D"/>
      </a:hlink>
      <a:folHlink>
        <a:srgbClr val="7030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P_template_AJ">
  <a:themeElements>
    <a:clrScheme name="PP_template_AJ 4">
      <a:dk1>
        <a:srgbClr val="000000"/>
      </a:dk1>
      <a:lt1>
        <a:srgbClr val="FFFFFF"/>
      </a:lt1>
      <a:dk2>
        <a:srgbClr val="1D3E1C"/>
      </a:dk2>
      <a:lt2>
        <a:srgbClr val="760B02"/>
      </a:lt2>
      <a:accent1>
        <a:srgbClr val="9F8852"/>
      </a:accent1>
      <a:accent2>
        <a:srgbClr val="FCF6BF"/>
      </a:accent2>
      <a:accent3>
        <a:srgbClr val="FFFFFF"/>
      </a:accent3>
      <a:accent4>
        <a:srgbClr val="000000"/>
      </a:accent4>
      <a:accent5>
        <a:srgbClr val="CDC3B3"/>
      </a:accent5>
      <a:accent6>
        <a:srgbClr val="E4DFAD"/>
      </a:accent6>
      <a:hlink>
        <a:srgbClr val="C7D297"/>
      </a:hlink>
      <a:folHlink>
        <a:srgbClr val="D88A00"/>
      </a:folHlink>
    </a:clrScheme>
    <a:fontScheme name="Custom 1">
      <a:majorFont>
        <a:latin typeface="Formata Pro Regular"/>
        <a:ea typeface=""/>
        <a:cs typeface="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PP_template_AJ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emplate_AJ 4">
        <a:dk1>
          <a:srgbClr val="000000"/>
        </a:dk1>
        <a:lt1>
          <a:srgbClr val="FFFFFF"/>
        </a:lt1>
        <a:dk2>
          <a:srgbClr val="1D3E1C"/>
        </a:dk2>
        <a:lt2>
          <a:srgbClr val="760B02"/>
        </a:lt2>
        <a:accent1>
          <a:srgbClr val="9F8852"/>
        </a:accent1>
        <a:accent2>
          <a:srgbClr val="FCF6BF"/>
        </a:accent2>
        <a:accent3>
          <a:srgbClr val="FFFFFF"/>
        </a:accent3>
        <a:accent4>
          <a:srgbClr val="000000"/>
        </a:accent4>
        <a:accent5>
          <a:srgbClr val="CDC3B3"/>
        </a:accent5>
        <a:accent6>
          <a:srgbClr val="E4DFAD"/>
        </a:accent6>
        <a:hlink>
          <a:srgbClr val="C7D297"/>
        </a:hlink>
        <a:folHlink>
          <a:srgbClr val="D88A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</TotalTime>
  <Words>448</Words>
  <Application>Microsoft Office PowerPoint</Application>
  <PresentationFormat>Vlastní</PresentationFormat>
  <Paragraphs>89</Paragraphs>
  <Slides>14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4</vt:i4>
      </vt:variant>
    </vt:vector>
  </HeadingPairs>
  <TitlesOfParts>
    <vt:vector size="28" baseType="lpstr">
      <vt:lpstr>Wingdings</vt:lpstr>
      <vt:lpstr>Manrope</vt:lpstr>
      <vt:lpstr>Calibri</vt:lpstr>
      <vt:lpstr>Formata Pro Medium</vt:lpstr>
      <vt:lpstr>Unna</vt:lpstr>
      <vt:lpstr>Calibri Light</vt:lpstr>
      <vt:lpstr>SABMiller Headline</vt:lpstr>
      <vt:lpstr>Arial</vt:lpstr>
      <vt:lpstr>Formata Pro Regular</vt:lpstr>
      <vt:lpstr>PP_template_AJ</vt:lpstr>
      <vt:lpstr>interni_sablona Power Point</vt:lpstr>
      <vt:lpstr>1_PP_template_AJ</vt:lpstr>
      <vt:lpstr>3_Motiv Office</vt:lpstr>
      <vt:lpstr>think-cell Slide</vt:lpstr>
      <vt:lpstr>MVŠO zadání event marketing</vt:lpstr>
      <vt:lpstr>Prezentace aplikace PowerPoint</vt:lpstr>
      <vt:lpstr>Prezentace aplikace PowerPoint</vt:lpstr>
      <vt:lpstr>Prezentace aplikace PowerPoint</vt:lpstr>
      <vt:lpstr>Pivovar na dotek</vt:lpstr>
      <vt:lpstr>Zadání</vt:lpstr>
      <vt:lpstr>Cíle</vt:lpstr>
      <vt:lpstr>Detail zadání</vt:lpstr>
      <vt:lpstr>Návrh přístupu</vt:lpstr>
      <vt:lpstr>Check up a vyhodnocení</vt:lpstr>
      <vt:lpstr>Jak budeme projekt hodnotit</vt:lpstr>
      <vt:lpstr>Výhra pro vítězný tým</vt:lpstr>
      <vt:lpstr>Prezentace aplikace PowerPoint</vt:lpstr>
      <vt:lpstr>Prezentace aplikace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Romana Vysanska</dc:creator>
  <cp:lastModifiedBy>Libor Jordán</cp:lastModifiedBy>
  <cp:revision>9</cp:revision>
  <cp:lastPrinted>2008-09-19T11:06:26Z</cp:lastPrinted>
  <dcterms:created xsi:type="dcterms:W3CDTF">2010-11-02T13:15:14Z</dcterms:created>
  <dcterms:modified xsi:type="dcterms:W3CDTF">2021-10-14T14:1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Slide 0</vt:lpwstr>
  </property>
  <property fmtid="{D5CDD505-2E9C-101B-9397-08002B2CF9AE}" pid="7" name="Event">
    <vt:lpwstr/>
  </property>
  <property fmtid="{D5CDD505-2E9C-101B-9397-08002B2CF9AE}" pid="8" name="Delivery Date">
    <vt:lpwstr>Date</vt:lpwstr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  <property fmtid="{D5CDD505-2E9C-101B-9397-08002B2CF9AE}" pid="13" name="MSIP_Label_b902d893-e969-45ad-97c1-6b351819e922_Enabled">
    <vt:lpwstr>true</vt:lpwstr>
  </property>
  <property fmtid="{D5CDD505-2E9C-101B-9397-08002B2CF9AE}" pid="14" name="MSIP_Label_b902d893-e969-45ad-97c1-6b351819e922_SetDate">
    <vt:lpwstr>2021-09-30T13:45:45Z</vt:lpwstr>
  </property>
  <property fmtid="{D5CDD505-2E9C-101B-9397-08002B2CF9AE}" pid="15" name="MSIP_Label_b902d893-e969-45ad-97c1-6b351819e922_Method">
    <vt:lpwstr>Standard</vt:lpwstr>
  </property>
  <property fmtid="{D5CDD505-2E9C-101B-9397-08002B2CF9AE}" pid="16" name="MSIP_Label_b902d893-e969-45ad-97c1-6b351819e922_Name">
    <vt:lpwstr>L002S002</vt:lpwstr>
  </property>
  <property fmtid="{D5CDD505-2E9C-101B-9397-08002B2CF9AE}" pid="17" name="MSIP_Label_b902d893-e969-45ad-97c1-6b351819e922_SiteId">
    <vt:lpwstr>7ef011f8-898a-4d01-8232-9087b2c2abaf</vt:lpwstr>
  </property>
  <property fmtid="{D5CDD505-2E9C-101B-9397-08002B2CF9AE}" pid="18" name="MSIP_Label_b902d893-e969-45ad-97c1-6b351819e922_ActionId">
    <vt:lpwstr>833ff883-4229-48bc-b695-f5ae66566929</vt:lpwstr>
  </property>
  <property fmtid="{D5CDD505-2E9C-101B-9397-08002B2CF9AE}" pid="19" name="MSIP_Label_b902d893-e969-45ad-97c1-6b351819e922_ContentBits">
    <vt:lpwstr>1</vt:lpwstr>
  </property>
</Properties>
</file>